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notesSlides/notesSlide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4.xml" ContentType="application/vnd.openxmlformats-officedocument.presentationml.notesSlide+xml"/>
  <Override PartName="/ppt/slideLayouts/slideLayout183.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7.xml" ContentType="application/vnd.openxmlformats-officedocument.presentationml.slideLayout+xml"/>
  <Override PartName="/ppt/slideLayouts/slideLayout86.xml" ContentType="application/vnd.openxmlformats-officedocument.presentationml.slideLayout+xml"/>
  <Override PartName="/ppt/slideLayouts/slideLayout89.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48.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45.xml" ContentType="application/vnd.openxmlformats-officedocument.presentationml.slideLayout+xml"/>
  <Override PartName="/ppt/slideLayouts/slideLayout88.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3.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7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3.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34.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14.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13.xml" ContentType="application/vnd.openxmlformats-officedocument.presentationml.slideLayout+xml"/>
  <Override PartName="/ppt/slideLayouts/slideLayout123.xml" ContentType="application/vnd.openxmlformats-officedocument.presentationml.slideLayout+xml"/>
  <Override PartName="/ppt/slideLayouts/slideLayout121.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22.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1.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55.xml" ContentType="application/vnd.openxmlformats-officedocument.presentationml.tags+xml"/>
  <Override PartName="/ppt/tags/tag254.xml" ContentType="application/vnd.openxmlformats-officedocument.presentationml.tags+xml"/>
  <Override PartName="/ppt/tags/tag253.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84.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42.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361.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57.xml" ContentType="application/vnd.openxmlformats-officedocument.presentationml.tags+xml"/>
  <Override PartName="/ppt/tags/tag356.xml" ContentType="application/vnd.openxmlformats-officedocument.presentationml.tags+xml"/>
  <Override PartName="/ppt/tags/tag355.xml" ContentType="application/vnd.openxmlformats-officedocument.presentationml.tags+xml"/>
  <Override PartName="/ppt/tags/tag348.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86.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7.xml" ContentType="application/vnd.openxmlformats-officedocument.presentationml.tags+xml"/>
  <Override PartName="/ppt/tags/tag382.xml" ContentType="application/vnd.openxmlformats-officedocument.presentationml.tags+xml"/>
  <Override PartName="/ppt/tags/tag381.xml" ContentType="application/vnd.openxmlformats-officedocument.presentationml.tags+xml"/>
  <Override PartName="/ppt/tags/tag38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44.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10.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06.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35.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31.xml" ContentType="application/vnd.openxmlformats-officedocument.presentationml.tags+xml"/>
  <Override PartName="/ppt/tags/tag330.xml" ContentType="application/vnd.openxmlformats-officedocument.presentationml.tags+xml"/>
  <Override PartName="/ppt/tags/tag32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4"/>
  </p:notesMasterIdLst>
  <p:sldIdLst>
    <p:sldId id="413" r:id="rId4"/>
    <p:sldId id="414" r:id="rId5"/>
    <p:sldId id="415" r:id="rId6"/>
    <p:sldId id="416" r:id="rId7"/>
    <p:sldId id="420" r:id="rId8"/>
    <p:sldId id="421" r:id="rId9"/>
    <p:sldId id="422" r:id="rId10"/>
    <p:sldId id="423" r:id="rId11"/>
    <p:sldId id="419" r:id="rId12"/>
    <p:sldId id="418" r:id="rId13"/>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p:scale>
          <a:sx n="100" d="100"/>
          <a:sy n="100" d="100"/>
        </p:scale>
        <p:origin x="-132" y="-72"/>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customXml" Target="../customXml/item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0!$B$1</c:f>
              <c:strCache>
                <c:ptCount val="1"/>
              </c:strCache>
            </c:strRef>
          </c:tx>
          <c:spPr>
            <a:ln w="19050">
              <a:solidFill>
                <a:schemeClr val="accent1"/>
              </a:solidFill>
              <a:prstDash val="solid"/>
            </a:ln>
          </c:spPr>
          <c:marker>
            <c:symbol val="none"/>
          </c:marker>
          <c:cat>
            <c:numRef>
              <c:f>Sheet0!$A$2:$A$1306</c:f>
              <c:numCache>
                <c:formatCode>m/d/yyyy</c:formatCode>
                <c:ptCount val="1305"/>
                <c:pt idx="0">
                  <c:v>40298</c:v>
                </c:pt>
                <c:pt idx="1">
                  <c:v>40301</c:v>
                </c:pt>
                <c:pt idx="2">
                  <c:v>40302</c:v>
                </c:pt>
                <c:pt idx="3">
                  <c:v>40303</c:v>
                </c:pt>
                <c:pt idx="4">
                  <c:v>40304</c:v>
                </c:pt>
                <c:pt idx="5">
                  <c:v>40305</c:v>
                </c:pt>
                <c:pt idx="6">
                  <c:v>40308</c:v>
                </c:pt>
                <c:pt idx="7">
                  <c:v>40309</c:v>
                </c:pt>
                <c:pt idx="8">
                  <c:v>40310</c:v>
                </c:pt>
                <c:pt idx="9">
                  <c:v>40311</c:v>
                </c:pt>
                <c:pt idx="10">
                  <c:v>40312</c:v>
                </c:pt>
                <c:pt idx="11">
                  <c:v>40315</c:v>
                </c:pt>
                <c:pt idx="12">
                  <c:v>40316</c:v>
                </c:pt>
                <c:pt idx="13">
                  <c:v>40317</c:v>
                </c:pt>
                <c:pt idx="14">
                  <c:v>40318</c:v>
                </c:pt>
                <c:pt idx="15">
                  <c:v>40319</c:v>
                </c:pt>
                <c:pt idx="16">
                  <c:v>40322</c:v>
                </c:pt>
                <c:pt idx="17">
                  <c:v>40323</c:v>
                </c:pt>
                <c:pt idx="18">
                  <c:v>40324</c:v>
                </c:pt>
                <c:pt idx="19">
                  <c:v>40325</c:v>
                </c:pt>
                <c:pt idx="20">
                  <c:v>40326</c:v>
                </c:pt>
                <c:pt idx="21">
                  <c:v>40329</c:v>
                </c:pt>
                <c:pt idx="22">
                  <c:v>40330</c:v>
                </c:pt>
                <c:pt idx="23">
                  <c:v>40331</c:v>
                </c:pt>
                <c:pt idx="24">
                  <c:v>40332</c:v>
                </c:pt>
                <c:pt idx="25">
                  <c:v>40333</c:v>
                </c:pt>
                <c:pt idx="26">
                  <c:v>40336</c:v>
                </c:pt>
                <c:pt idx="27">
                  <c:v>40337</c:v>
                </c:pt>
                <c:pt idx="28">
                  <c:v>40338</c:v>
                </c:pt>
                <c:pt idx="29">
                  <c:v>40339</c:v>
                </c:pt>
                <c:pt idx="30">
                  <c:v>40340</c:v>
                </c:pt>
                <c:pt idx="31">
                  <c:v>40343</c:v>
                </c:pt>
                <c:pt idx="32">
                  <c:v>40344</c:v>
                </c:pt>
                <c:pt idx="33">
                  <c:v>40345</c:v>
                </c:pt>
                <c:pt idx="34">
                  <c:v>40346</c:v>
                </c:pt>
                <c:pt idx="35">
                  <c:v>40347</c:v>
                </c:pt>
                <c:pt idx="36">
                  <c:v>40350</c:v>
                </c:pt>
                <c:pt idx="37">
                  <c:v>40351</c:v>
                </c:pt>
                <c:pt idx="38">
                  <c:v>40352</c:v>
                </c:pt>
                <c:pt idx="39">
                  <c:v>40353</c:v>
                </c:pt>
                <c:pt idx="40">
                  <c:v>40354</c:v>
                </c:pt>
                <c:pt idx="41">
                  <c:v>40357</c:v>
                </c:pt>
                <c:pt idx="42">
                  <c:v>40358</c:v>
                </c:pt>
                <c:pt idx="43">
                  <c:v>40359</c:v>
                </c:pt>
                <c:pt idx="44">
                  <c:v>40360</c:v>
                </c:pt>
                <c:pt idx="45">
                  <c:v>40361</c:v>
                </c:pt>
                <c:pt idx="46">
                  <c:v>40364</c:v>
                </c:pt>
                <c:pt idx="47">
                  <c:v>40365</c:v>
                </c:pt>
                <c:pt idx="48">
                  <c:v>40366</c:v>
                </c:pt>
                <c:pt idx="49">
                  <c:v>40367</c:v>
                </c:pt>
                <c:pt idx="50">
                  <c:v>40368</c:v>
                </c:pt>
                <c:pt idx="51">
                  <c:v>40371</c:v>
                </c:pt>
                <c:pt idx="52">
                  <c:v>40372</c:v>
                </c:pt>
                <c:pt idx="53">
                  <c:v>40373</c:v>
                </c:pt>
                <c:pt idx="54">
                  <c:v>40374</c:v>
                </c:pt>
                <c:pt idx="55">
                  <c:v>40375</c:v>
                </c:pt>
                <c:pt idx="56">
                  <c:v>40378</c:v>
                </c:pt>
                <c:pt idx="57">
                  <c:v>40379</c:v>
                </c:pt>
                <c:pt idx="58">
                  <c:v>40380</c:v>
                </c:pt>
                <c:pt idx="59">
                  <c:v>40381</c:v>
                </c:pt>
                <c:pt idx="60">
                  <c:v>40382</c:v>
                </c:pt>
                <c:pt idx="61">
                  <c:v>40385</c:v>
                </c:pt>
                <c:pt idx="62">
                  <c:v>40386</c:v>
                </c:pt>
                <c:pt idx="63">
                  <c:v>40387</c:v>
                </c:pt>
                <c:pt idx="64">
                  <c:v>40388</c:v>
                </c:pt>
                <c:pt idx="65">
                  <c:v>40389</c:v>
                </c:pt>
                <c:pt idx="66">
                  <c:v>40392</c:v>
                </c:pt>
                <c:pt idx="67">
                  <c:v>40393</c:v>
                </c:pt>
                <c:pt idx="68">
                  <c:v>40394</c:v>
                </c:pt>
                <c:pt idx="69">
                  <c:v>40395</c:v>
                </c:pt>
                <c:pt idx="70">
                  <c:v>40396</c:v>
                </c:pt>
                <c:pt idx="71">
                  <c:v>40399</c:v>
                </c:pt>
                <c:pt idx="72">
                  <c:v>40400</c:v>
                </c:pt>
                <c:pt idx="73">
                  <c:v>40401</c:v>
                </c:pt>
                <c:pt idx="74">
                  <c:v>40402</c:v>
                </c:pt>
                <c:pt idx="75">
                  <c:v>40403</c:v>
                </c:pt>
                <c:pt idx="76">
                  <c:v>40406</c:v>
                </c:pt>
                <c:pt idx="77">
                  <c:v>40407</c:v>
                </c:pt>
                <c:pt idx="78">
                  <c:v>40408</c:v>
                </c:pt>
                <c:pt idx="79">
                  <c:v>40409</c:v>
                </c:pt>
                <c:pt idx="80">
                  <c:v>40410</c:v>
                </c:pt>
                <c:pt idx="81">
                  <c:v>40413</c:v>
                </c:pt>
                <c:pt idx="82">
                  <c:v>40414</c:v>
                </c:pt>
                <c:pt idx="83">
                  <c:v>40415</c:v>
                </c:pt>
                <c:pt idx="84">
                  <c:v>40416</c:v>
                </c:pt>
                <c:pt idx="85">
                  <c:v>40417</c:v>
                </c:pt>
                <c:pt idx="86">
                  <c:v>40420</c:v>
                </c:pt>
                <c:pt idx="87">
                  <c:v>40421</c:v>
                </c:pt>
                <c:pt idx="88">
                  <c:v>40422</c:v>
                </c:pt>
                <c:pt idx="89">
                  <c:v>40423</c:v>
                </c:pt>
                <c:pt idx="90">
                  <c:v>40424</c:v>
                </c:pt>
                <c:pt idx="91">
                  <c:v>40427</c:v>
                </c:pt>
                <c:pt idx="92">
                  <c:v>40428</c:v>
                </c:pt>
                <c:pt idx="93">
                  <c:v>40429</c:v>
                </c:pt>
                <c:pt idx="94">
                  <c:v>40430</c:v>
                </c:pt>
                <c:pt idx="95">
                  <c:v>40431</c:v>
                </c:pt>
                <c:pt idx="96">
                  <c:v>40434</c:v>
                </c:pt>
                <c:pt idx="97">
                  <c:v>40435</c:v>
                </c:pt>
                <c:pt idx="98">
                  <c:v>40436</c:v>
                </c:pt>
                <c:pt idx="99">
                  <c:v>40437</c:v>
                </c:pt>
                <c:pt idx="100">
                  <c:v>40438</c:v>
                </c:pt>
                <c:pt idx="101">
                  <c:v>40441</c:v>
                </c:pt>
                <c:pt idx="102">
                  <c:v>40442</c:v>
                </c:pt>
                <c:pt idx="103">
                  <c:v>40443</c:v>
                </c:pt>
                <c:pt idx="104">
                  <c:v>40444</c:v>
                </c:pt>
                <c:pt idx="105">
                  <c:v>40445</c:v>
                </c:pt>
                <c:pt idx="106">
                  <c:v>40448</c:v>
                </c:pt>
                <c:pt idx="107">
                  <c:v>40449</c:v>
                </c:pt>
                <c:pt idx="108">
                  <c:v>40450</c:v>
                </c:pt>
                <c:pt idx="109">
                  <c:v>40451</c:v>
                </c:pt>
                <c:pt idx="110">
                  <c:v>40452</c:v>
                </c:pt>
                <c:pt idx="111">
                  <c:v>40455</c:v>
                </c:pt>
                <c:pt idx="112">
                  <c:v>40456</c:v>
                </c:pt>
                <c:pt idx="113">
                  <c:v>40457</c:v>
                </c:pt>
                <c:pt idx="114">
                  <c:v>40458</c:v>
                </c:pt>
                <c:pt idx="115">
                  <c:v>40459</c:v>
                </c:pt>
                <c:pt idx="116">
                  <c:v>40462</c:v>
                </c:pt>
                <c:pt idx="117">
                  <c:v>40463</c:v>
                </c:pt>
                <c:pt idx="118">
                  <c:v>40464</c:v>
                </c:pt>
                <c:pt idx="119">
                  <c:v>40465</c:v>
                </c:pt>
                <c:pt idx="120">
                  <c:v>40466</c:v>
                </c:pt>
                <c:pt idx="121">
                  <c:v>40469</c:v>
                </c:pt>
                <c:pt idx="122">
                  <c:v>40470</c:v>
                </c:pt>
                <c:pt idx="123">
                  <c:v>40471</c:v>
                </c:pt>
                <c:pt idx="124">
                  <c:v>40472</c:v>
                </c:pt>
                <c:pt idx="125">
                  <c:v>40473</c:v>
                </c:pt>
                <c:pt idx="126">
                  <c:v>40476</c:v>
                </c:pt>
                <c:pt idx="127">
                  <c:v>40477</c:v>
                </c:pt>
                <c:pt idx="128">
                  <c:v>40478</c:v>
                </c:pt>
                <c:pt idx="129">
                  <c:v>40479</c:v>
                </c:pt>
                <c:pt idx="130">
                  <c:v>40480</c:v>
                </c:pt>
                <c:pt idx="131">
                  <c:v>40483</c:v>
                </c:pt>
                <c:pt idx="132">
                  <c:v>40484</c:v>
                </c:pt>
                <c:pt idx="133">
                  <c:v>40485</c:v>
                </c:pt>
                <c:pt idx="134">
                  <c:v>40486</c:v>
                </c:pt>
                <c:pt idx="135">
                  <c:v>40487</c:v>
                </c:pt>
                <c:pt idx="136">
                  <c:v>40490</c:v>
                </c:pt>
                <c:pt idx="137">
                  <c:v>40491</c:v>
                </c:pt>
                <c:pt idx="138">
                  <c:v>40492</c:v>
                </c:pt>
                <c:pt idx="139">
                  <c:v>40493</c:v>
                </c:pt>
                <c:pt idx="140">
                  <c:v>40494</c:v>
                </c:pt>
                <c:pt idx="141">
                  <c:v>40497</c:v>
                </c:pt>
                <c:pt idx="142">
                  <c:v>40498</c:v>
                </c:pt>
                <c:pt idx="143">
                  <c:v>40499</c:v>
                </c:pt>
                <c:pt idx="144">
                  <c:v>40500</c:v>
                </c:pt>
                <c:pt idx="145">
                  <c:v>40501</c:v>
                </c:pt>
                <c:pt idx="146">
                  <c:v>40504</c:v>
                </c:pt>
                <c:pt idx="147">
                  <c:v>40505</c:v>
                </c:pt>
                <c:pt idx="148">
                  <c:v>40506</c:v>
                </c:pt>
                <c:pt idx="149">
                  <c:v>40507</c:v>
                </c:pt>
                <c:pt idx="150">
                  <c:v>40508</c:v>
                </c:pt>
                <c:pt idx="151">
                  <c:v>40511</c:v>
                </c:pt>
                <c:pt idx="152">
                  <c:v>40512</c:v>
                </c:pt>
                <c:pt idx="153">
                  <c:v>40513</c:v>
                </c:pt>
                <c:pt idx="154">
                  <c:v>40514</c:v>
                </c:pt>
                <c:pt idx="155">
                  <c:v>40515</c:v>
                </c:pt>
                <c:pt idx="156">
                  <c:v>40518</c:v>
                </c:pt>
                <c:pt idx="157">
                  <c:v>40519</c:v>
                </c:pt>
                <c:pt idx="158">
                  <c:v>40520</c:v>
                </c:pt>
                <c:pt idx="159">
                  <c:v>40521</c:v>
                </c:pt>
                <c:pt idx="160">
                  <c:v>40522</c:v>
                </c:pt>
                <c:pt idx="161">
                  <c:v>40525</c:v>
                </c:pt>
                <c:pt idx="162">
                  <c:v>40526</c:v>
                </c:pt>
                <c:pt idx="163">
                  <c:v>40527</c:v>
                </c:pt>
                <c:pt idx="164">
                  <c:v>40528</c:v>
                </c:pt>
                <c:pt idx="165">
                  <c:v>40529</c:v>
                </c:pt>
                <c:pt idx="166">
                  <c:v>40532</c:v>
                </c:pt>
                <c:pt idx="167">
                  <c:v>40533</c:v>
                </c:pt>
                <c:pt idx="168">
                  <c:v>40534</c:v>
                </c:pt>
                <c:pt idx="169">
                  <c:v>40535</c:v>
                </c:pt>
                <c:pt idx="170">
                  <c:v>40536</c:v>
                </c:pt>
                <c:pt idx="171">
                  <c:v>40539</c:v>
                </c:pt>
                <c:pt idx="172">
                  <c:v>40540</c:v>
                </c:pt>
                <c:pt idx="173">
                  <c:v>40541</c:v>
                </c:pt>
                <c:pt idx="174">
                  <c:v>40542</c:v>
                </c:pt>
                <c:pt idx="175">
                  <c:v>40543</c:v>
                </c:pt>
                <c:pt idx="176">
                  <c:v>40546</c:v>
                </c:pt>
                <c:pt idx="177">
                  <c:v>40547</c:v>
                </c:pt>
                <c:pt idx="178">
                  <c:v>40548</c:v>
                </c:pt>
                <c:pt idx="179">
                  <c:v>40549</c:v>
                </c:pt>
                <c:pt idx="180">
                  <c:v>40550</c:v>
                </c:pt>
                <c:pt idx="181">
                  <c:v>40553</c:v>
                </c:pt>
                <c:pt idx="182">
                  <c:v>40554</c:v>
                </c:pt>
                <c:pt idx="183">
                  <c:v>40555</c:v>
                </c:pt>
                <c:pt idx="184">
                  <c:v>40556</c:v>
                </c:pt>
                <c:pt idx="185">
                  <c:v>40557</c:v>
                </c:pt>
                <c:pt idx="186">
                  <c:v>40560</c:v>
                </c:pt>
                <c:pt idx="187">
                  <c:v>40561</c:v>
                </c:pt>
                <c:pt idx="188">
                  <c:v>40562</c:v>
                </c:pt>
                <c:pt idx="189">
                  <c:v>40563</c:v>
                </c:pt>
                <c:pt idx="190">
                  <c:v>40564</c:v>
                </c:pt>
                <c:pt idx="191">
                  <c:v>40567</c:v>
                </c:pt>
                <c:pt idx="192">
                  <c:v>40568</c:v>
                </c:pt>
                <c:pt idx="193">
                  <c:v>40569</c:v>
                </c:pt>
                <c:pt idx="194">
                  <c:v>40570</c:v>
                </c:pt>
                <c:pt idx="195">
                  <c:v>40571</c:v>
                </c:pt>
                <c:pt idx="196">
                  <c:v>40574</c:v>
                </c:pt>
                <c:pt idx="197">
                  <c:v>40575</c:v>
                </c:pt>
                <c:pt idx="198">
                  <c:v>40576</c:v>
                </c:pt>
                <c:pt idx="199">
                  <c:v>40577</c:v>
                </c:pt>
                <c:pt idx="200">
                  <c:v>40578</c:v>
                </c:pt>
                <c:pt idx="201">
                  <c:v>40581</c:v>
                </c:pt>
                <c:pt idx="202">
                  <c:v>40582</c:v>
                </c:pt>
                <c:pt idx="203">
                  <c:v>40583</c:v>
                </c:pt>
                <c:pt idx="204">
                  <c:v>40584</c:v>
                </c:pt>
                <c:pt idx="205">
                  <c:v>40585</c:v>
                </c:pt>
                <c:pt idx="206">
                  <c:v>40588</c:v>
                </c:pt>
                <c:pt idx="207">
                  <c:v>40589</c:v>
                </c:pt>
                <c:pt idx="208">
                  <c:v>40590</c:v>
                </c:pt>
                <c:pt idx="209">
                  <c:v>40591</c:v>
                </c:pt>
                <c:pt idx="210">
                  <c:v>40592</c:v>
                </c:pt>
                <c:pt idx="211">
                  <c:v>40595</c:v>
                </c:pt>
                <c:pt idx="212">
                  <c:v>40596</c:v>
                </c:pt>
                <c:pt idx="213">
                  <c:v>40597</c:v>
                </c:pt>
                <c:pt idx="214">
                  <c:v>40598</c:v>
                </c:pt>
                <c:pt idx="215">
                  <c:v>40599</c:v>
                </c:pt>
                <c:pt idx="216">
                  <c:v>40602</c:v>
                </c:pt>
                <c:pt idx="217">
                  <c:v>40603</c:v>
                </c:pt>
                <c:pt idx="218">
                  <c:v>40604</c:v>
                </c:pt>
                <c:pt idx="219">
                  <c:v>40605</c:v>
                </c:pt>
                <c:pt idx="220">
                  <c:v>40606</c:v>
                </c:pt>
                <c:pt idx="221">
                  <c:v>40609</c:v>
                </c:pt>
                <c:pt idx="222">
                  <c:v>40610</c:v>
                </c:pt>
                <c:pt idx="223">
                  <c:v>40611</c:v>
                </c:pt>
                <c:pt idx="224">
                  <c:v>40612</c:v>
                </c:pt>
                <c:pt idx="225">
                  <c:v>40613</c:v>
                </c:pt>
                <c:pt idx="226">
                  <c:v>40616</c:v>
                </c:pt>
                <c:pt idx="227">
                  <c:v>40617</c:v>
                </c:pt>
                <c:pt idx="228">
                  <c:v>40618</c:v>
                </c:pt>
                <c:pt idx="229">
                  <c:v>40619</c:v>
                </c:pt>
                <c:pt idx="230">
                  <c:v>40620</c:v>
                </c:pt>
                <c:pt idx="231">
                  <c:v>40623</c:v>
                </c:pt>
                <c:pt idx="232">
                  <c:v>40624</c:v>
                </c:pt>
                <c:pt idx="233">
                  <c:v>40625</c:v>
                </c:pt>
                <c:pt idx="234">
                  <c:v>40626</c:v>
                </c:pt>
                <c:pt idx="235">
                  <c:v>40627</c:v>
                </c:pt>
                <c:pt idx="236">
                  <c:v>40630</c:v>
                </c:pt>
                <c:pt idx="237">
                  <c:v>40631</c:v>
                </c:pt>
                <c:pt idx="238">
                  <c:v>40632</c:v>
                </c:pt>
                <c:pt idx="239">
                  <c:v>40633</c:v>
                </c:pt>
                <c:pt idx="240">
                  <c:v>40634</c:v>
                </c:pt>
                <c:pt idx="241">
                  <c:v>40637</c:v>
                </c:pt>
                <c:pt idx="242">
                  <c:v>40638</c:v>
                </c:pt>
                <c:pt idx="243">
                  <c:v>40639</c:v>
                </c:pt>
                <c:pt idx="244">
                  <c:v>40640</c:v>
                </c:pt>
                <c:pt idx="245">
                  <c:v>40641</c:v>
                </c:pt>
                <c:pt idx="246">
                  <c:v>40644</c:v>
                </c:pt>
                <c:pt idx="247">
                  <c:v>40645</c:v>
                </c:pt>
                <c:pt idx="248">
                  <c:v>40646</c:v>
                </c:pt>
                <c:pt idx="249">
                  <c:v>40647</c:v>
                </c:pt>
                <c:pt idx="250">
                  <c:v>40648</c:v>
                </c:pt>
                <c:pt idx="251">
                  <c:v>40651</c:v>
                </c:pt>
                <c:pt idx="252">
                  <c:v>40652</c:v>
                </c:pt>
                <c:pt idx="253">
                  <c:v>40653</c:v>
                </c:pt>
                <c:pt idx="254">
                  <c:v>40654</c:v>
                </c:pt>
                <c:pt idx="255">
                  <c:v>40659</c:v>
                </c:pt>
                <c:pt idx="256">
                  <c:v>40660</c:v>
                </c:pt>
                <c:pt idx="257">
                  <c:v>40661</c:v>
                </c:pt>
                <c:pt idx="258">
                  <c:v>40662</c:v>
                </c:pt>
                <c:pt idx="259">
                  <c:v>40665</c:v>
                </c:pt>
                <c:pt idx="260">
                  <c:v>40666</c:v>
                </c:pt>
                <c:pt idx="261">
                  <c:v>40667</c:v>
                </c:pt>
                <c:pt idx="262">
                  <c:v>40668</c:v>
                </c:pt>
                <c:pt idx="263">
                  <c:v>40669</c:v>
                </c:pt>
                <c:pt idx="264">
                  <c:v>40672</c:v>
                </c:pt>
                <c:pt idx="265">
                  <c:v>40673</c:v>
                </c:pt>
                <c:pt idx="266">
                  <c:v>40674</c:v>
                </c:pt>
                <c:pt idx="267">
                  <c:v>40675</c:v>
                </c:pt>
                <c:pt idx="268">
                  <c:v>40676</c:v>
                </c:pt>
                <c:pt idx="269">
                  <c:v>40679</c:v>
                </c:pt>
                <c:pt idx="270">
                  <c:v>40680</c:v>
                </c:pt>
                <c:pt idx="271">
                  <c:v>40681</c:v>
                </c:pt>
                <c:pt idx="272">
                  <c:v>40682</c:v>
                </c:pt>
                <c:pt idx="273">
                  <c:v>40683</c:v>
                </c:pt>
                <c:pt idx="274">
                  <c:v>40686</c:v>
                </c:pt>
                <c:pt idx="275">
                  <c:v>40687</c:v>
                </c:pt>
                <c:pt idx="276">
                  <c:v>40688</c:v>
                </c:pt>
                <c:pt idx="277">
                  <c:v>40689</c:v>
                </c:pt>
                <c:pt idx="278">
                  <c:v>40690</c:v>
                </c:pt>
                <c:pt idx="279">
                  <c:v>40693</c:v>
                </c:pt>
                <c:pt idx="280">
                  <c:v>40694</c:v>
                </c:pt>
                <c:pt idx="281">
                  <c:v>40695</c:v>
                </c:pt>
                <c:pt idx="282">
                  <c:v>40696</c:v>
                </c:pt>
                <c:pt idx="283">
                  <c:v>40697</c:v>
                </c:pt>
                <c:pt idx="284">
                  <c:v>40700</c:v>
                </c:pt>
                <c:pt idx="285">
                  <c:v>40701</c:v>
                </c:pt>
                <c:pt idx="286">
                  <c:v>40702</c:v>
                </c:pt>
                <c:pt idx="287">
                  <c:v>40703</c:v>
                </c:pt>
                <c:pt idx="288">
                  <c:v>40704</c:v>
                </c:pt>
                <c:pt idx="289">
                  <c:v>40707</c:v>
                </c:pt>
                <c:pt idx="290">
                  <c:v>40708</c:v>
                </c:pt>
                <c:pt idx="291">
                  <c:v>40709</c:v>
                </c:pt>
                <c:pt idx="292">
                  <c:v>40710</c:v>
                </c:pt>
                <c:pt idx="293">
                  <c:v>40711</c:v>
                </c:pt>
                <c:pt idx="294">
                  <c:v>40714</c:v>
                </c:pt>
                <c:pt idx="295">
                  <c:v>40715</c:v>
                </c:pt>
                <c:pt idx="296">
                  <c:v>40716</c:v>
                </c:pt>
                <c:pt idx="297">
                  <c:v>40717</c:v>
                </c:pt>
                <c:pt idx="298">
                  <c:v>40718</c:v>
                </c:pt>
                <c:pt idx="299">
                  <c:v>40721</c:v>
                </c:pt>
                <c:pt idx="300">
                  <c:v>40722</c:v>
                </c:pt>
                <c:pt idx="301">
                  <c:v>40723</c:v>
                </c:pt>
                <c:pt idx="302">
                  <c:v>40724</c:v>
                </c:pt>
                <c:pt idx="303">
                  <c:v>40725</c:v>
                </c:pt>
                <c:pt idx="304">
                  <c:v>40728</c:v>
                </c:pt>
                <c:pt idx="305">
                  <c:v>40729</c:v>
                </c:pt>
                <c:pt idx="306">
                  <c:v>40730</c:v>
                </c:pt>
                <c:pt idx="307">
                  <c:v>40731</c:v>
                </c:pt>
                <c:pt idx="308">
                  <c:v>40732</c:v>
                </c:pt>
                <c:pt idx="309">
                  <c:v>40735</c:v>
                </c:pt>
                <c:pt idx="310">
                  <c:v>40736</c:v>
                </c:pt>
                <c:pt idx="311">
                  <c:v>40737</c:v>
                </c:pt>
                <c:pt idx="312">
                  <c:v>40738</c:v>
                </c:pt>
                <c:pt idx="313">
                  <c:v>40739</c:v>
                </c:pt>
                <c:pt idx="314">
                  <c:v>40742</c:v>
                </c:pt>
                <c:pt idx="315">
                  <c:v>40743</c:v>
                </c:pt>
                <c:pt idx="316">
                  <c:v>40744</c:v>
                </c:pt>
                <c:pt idx="317">
                  <c:v>40745</c:v>
                </c:pt>
                <c:pt idx="318">
                  <c:v>40746</c:v>
                </c:pt>
                <c:pt idx="319">
                  <c:v>40749</c:v>
                </c:pt>
                <c:pt idx="320">
                  <c:v>40750</c:v>
                </c:pt>
                <c:pt idx="321">
                  <c:v>40751</c:v>
                </c:pt>
                <c:pt idx="322">
                  <c:v>40752</c:v>
                </c:pt>
                <c:pt idx="323">
                  <c:v>40753</c:v>
                </c:pt>
                <c:pt idx="324">
                  <c:v>40756</c:v>
                </c:pt>
                <c:pt idx="325">
                  <c:v>40757</c:v>
                </c:pt>
                <c:pt idx="326">
                  <c:v>40758</c:v>
                </c:pt>
                <c:pt idx="327">
                  <c:v>40759</c:v>
                </c:pt>
                <c:pt idx="328">
                  <c:v>40760</c:v>
                </c:pt>
                <c:pt idx="329">
                  <c:v>40763</c:v>
                </c:pt>
                <c:pt idx="330">
                  <c:v>40764</c:v>
                </c:pt>
                <c:pt idx="331">
                  <c:v>40765</c:v>
                </c:pt>
                <c:pt idx="332">
                  <c:v>40766</c:v>
                </c:pt>
                <c:pt idx="333">
                  <c:v>40767</c:v>
                </c:pt>
                <c:pt idx="334">
                  <c:v>40770</c:v>
                </c:pt>
                <c:pt idx="335">
                  <c:v>40771</c:v>
                </c:pt>
                <c:pt idx="336">
                  <c:v>40772</c:v>
                </c:pt>
                <c:pt idx="337">
                  <c:v>40773</c:v>
                </c:pt>
                <c:pt idx="338">
                  <c:v>40774</c:v>
                </c:pt>
                <c:pt idx="339">
                  <c:v>40777</c:v>
                </c:pt>
                <c:pt idx="340">
                  <c:v>40778</c:v>
                </c:pt>
                <c:pt idx="341">
                  <c:v>40779</c:v>
                </c:pt>
                <c:pt idx="342">
                  <c:v>40780</c:v>
                </c:pt>
                <c:pt idx="343">
                  <c:v>40781</c:v>
                </c:pt>
                <c:pt idx="344">
                  <c:v>40784</c:v>
                </c:pt>
                <c:pt idx="345">
                  <c:v>40785</c:v>
                </c:pt>
                <c:pt idx="346">
                  <c:v>40786</c:v>
                </c:pt>
                <c:pt idx="347">
                  <c:v>40787</c:v>
                </c:pt>
                <c:pt idx="348">
                  <c:v>40788</c:v>
                </c:pt>
                <c:pt idx="349">
                  <c:v>40791</c:v>
                </c:pt>
                <c:pt idx="350">
                  <c:v>40792</c:v>
                </c:pt>
                <c:pt idx="351">
                  <c:v>40793</c:v>
                </c:pt>
                <c:pt idx="352">
                  <c:v>40794</c:v>
                </c:pt>
                <c:pt idx="353">
                  <c:v>40795</c:v>
                </c:pt>
                <c:pt idx="354">
                  <c:v>40798</c:v>
                </c:pt>
                <c:pt idx="355">
                  <c:v>40799</c:v>
                </c:pt>
                <c:pt idx="356">
                  <c:v>40800</c:v>
                </c:pt>
                <c:pt idx="357">
                  <c:v>40801</c:v>
                </c:pt>
                <c:pt idx="358">
                  <c:v>40802</c:v>
                </c:pt>
                <c:pt idx="359">
                  <c:v>40805</c:v>
                </c:pt>
                <c:pt idx="360">
                  <c:v>40806</c:v>
                </c:pt>
                <c:pt idx="361">
                  <c:v>40807</c:v>
                </c:pt>
                <c:pt idx="362">
                  <c:v>40808</c:v>
                </c:pt>
                <c:pt idx="363">
                  <c:v>40809</c:v>
                </c:pt>
                <c:pt idx="364">
                  <c:v>40812</c:v>
                </c:pt>
                <c:pt idx="365">
                  <c:v>40813</c:v>
                </c:pt>
                <c:pt idx="366">
                  <c:v>40814</c:v>
                </c:pt>
                <c:pt idx="367">
                  <c:v>40815</c:v>
                </c:pt>
                <c:pt idx="368">
                  <c:v>40816</c:v>
                </c:pt>
                <c:pt idx="369">
                  <c:v>40819</c:v>
                </c:pt>
                <c:pt idx="370">
                  <c:v>40820</c:v>
                </c:pt>
                <c:pt idx="371">
                  <c:v>40821</c:v>
                </c:pt>
                <c:pt idx="372">
                  <c:v>40822</c:v>
                </c:pt>
                <c:pt idx="373">
                  <c:v>40823</c:v>
                </c:pt>
                <c:pt idx="374">
                  <c:v>40826</c:v>
                </c:pt>
                <c:pt idx="375">
                  <c:v>40827</c:v>
                </c:pt>
                <c:pt idx="376">
                  <c:v>40828</c:v>
                </c:pt>
                <c:pt idx="377">
                  <c:v>40829</c:v>
                </c:pt>
                <c:pt idx="378">
                  <c:v>40830</c:v>
                </c:pt>
                <c:pt idx="379">
                  <c:v>40833</c:v>
                </c:pt>
                <c:pt idx="380">
                  <c:v>40834</c:v>
                </c:pt>
                <c:pt idx="381">
                  <c:v>40835</c:v>
                </c:pt>
                <c:pt idx="382">
                  <c:v>40836</c:v>
                </c:pt>
                <c:pt idx="383">
                  <c:v>40837</c:v>
                </c:pt>
                <c:pt idx="384">
                  <c:v>40840</c:v>
                </c:pt>
                <c:pt idx="385">
                  <c:v>40841</c:v>
                </c:pt>
                <c:pt idx="386">
                  <c:v>40842</c:v>
                </c:pt>
                <c:pt idx="387">
                  <c:v>40843</c:v>
                </c:pt>
                <c:pt idx="388">
                  <c:v>40844</c:v>
                </c:pt>
                <c:pt idx="389">
                  <c:v>40847</c:v>
                </c:pt>
                <c:pt idx="390">
                  <c:v>40848</c:v>
                </c:pt>
                <c:pt idx="391">
                  <c:v>40849</c:v>
                </c:pt>
                <c:pt idx="392">
                  <c:v>40850</c:v>
                </c:pt>
                <c:pt idx="393">
                  <c:v>40851</c:v>
                </c:pt>
                <c:pt idx="394">
                  <c:v>40854</c:v>
                </c:pt>
                <c:pt idx="395">
                  <c:v>40855</c:v>
                </c:pt>
                <c:pt idx="396">
                  <c:v>40856</c:v>
                </c:pt>
                <c:pt idx="397">
                  <c:v>40857</c:v>
                </c:pt>
                <c:pt idx="398">
                  <c:v>40858</c:v>
                </c:pt>
                <c:pt idx="399">
                  <c:v>40861</c:v>
                </c:pt>
                <c:pt idx="400">
                  <c:v>40862</c:v>
                </c:pt>
                <c:pt idx="401">
                  <c:v>40863</c:v>
                </c:pt>
                <c:pt idx="402">
                  <c:v>40864</c:v>
                </c:pt>
                <c:pt idx="403">
                  <c:v>40865</c:v>
                </c:pt>
                <c:pt idx="404">
                  <c:v>40868</c:v>
                </c:pt>
                <c:pt idx="405">
                  <c:v>40869</c:v>
                </c:pt>
                <c:pt idx="406">
                  <c:v>40870</c:v>
                </c:pt>
                <c:pt idx="407">
                  <c:v>40871</c:v>
                </c:pt>
                <c:pt idx="408">
                  <c:v>40872</c:v>
                </c:pt>
                <c:pt idx="409">
                  <c:v>40875</c:v>
                </c:pt>
                <c:pt idx="410">
                  <c:v>40876</c:v>
                </c:pt>
                <c:pt idx="411">
                  <c:v>40877</c:v>
                </c:pt>
                <c:pt idx="412">
                  <c:v>40878</c:v>
                </c:pt>
                <c:pt idx="413">
                  <c:v>40879</c:v>
                </c:pt>
                <c:pt idx="414">
                  <c:v>40882</c:v>
                </c:pt>
                <c:pt idx="415">
                  <c:v>40883</c:v>
                </c:pt>
                <c:pt idx="416">
                  <c:v>40884</c:v>
                </c:pt>
                <c:pt idx="417">
                  <c:v>40885</c:v>
                </c:pt>
                <c:pt idx="418">
                  <c:v>40886</c:v>
                </c:pt>
                <c:pt idx="419">
                  <c:v>40889</c:v>
                </c:pt>
                <c:pt idx="420">
                  <c:v>40890</c:v>
                </c:pt>
                <c:pt idx="421">
                  <c:v>40891</c:v>
                </c:pt>
                <c:pt idx="422">
                  <c:v>40892</c:v>
                </c:pt>
                <c:pt idx="423">
                  <c:v>40893</c:v>
                </c:pt>
                <c:pt idx="424">
                  <c:v>40896</c:v>
                </c:pt>
                <c:pt idx="425">
                  <c:v>40897</c:v>
                </c:pt>
                <c:pt idx="426">
                  <c:v>40898</c:v>
                </c:pt>
                <c:pt idx="427">
                  <c:v>40899</c:v>
                </c:pt>
                <c:pt idx="428">
                  <c:v>40900</c:v>
                </c:pt>
                <c:pt idx="429">
                  <c:v>40904</c:v>
                </c:pt>
                <c:pt idx="430">
                  <c:v>40905</c:v>
                </c:pt>
                <c:pt idx="431">
                  <c:v>40906</c:v>
                </c:pt>
                <c:pt idx="432">
                  <c:v>40907</c:v>
                </c:pt>
                <c:pt idx="433">
                  <c:v>40910</c:v>
                </c:pt>
                <c:pt idx="434">
                  <c:v>40911</c:v>
                </c:pt>
                <c:pt idx="435">
                  <c:v>40912</c:v>
                </c:pt>
                <c:pt idx="436">
                  <c:v>40913</c:v>
                </c:pt>
                <c:pt idx="437">
                  <c:v>40914</c:v>
                </c:pt>
                <c:pt idx="438">
                  <c:v>40917</c:v>
                </c:pt>
                <c:pt idx="439">
                  <c:v>40918</c:v>
                </c:pt>
                <c:pt idx="440">
                  <c:v>40919</c:v>
                </c:pt>
                <c:pt idx="441">
                  <c:v>40920</c:v>
                </c:pt>
                <c:pt idx="442">
                  <c:v>40921</c:v>
                </c:pt>
                <c:pt idx="443">
                  <c:v>40924</c:v>
                </c:pt>
                <c:pt idx="444">
                  <c:v>40925</c:v>
                </c:pt>
                <c:pt idx="445">
                  <c:v>40926</c:v>
                </c:pt>
                <c:pt idx="446">
                  <c:v>40927</c:v>
                </c:pt>
                <c:pt idx="447">
                  <c:v>40928</c:v>
                </c:pt>
                <c:pt idx="448">
                  <c:v>40931</c:v>
                </c:pt>
                <c:pt idx="449">
                  <c:v>40932</c:v>
                </c:pt>
                <c:pt idx="450">
                  <c:v>40933</c:v>
                </c:pt>
                <c:pt idx="451">
                  <c:v>40934</c:v>
                </c:pt>
                <c:pt idx="452">
                  <c:v>40935</c:v>
                </c:pt>
                <c:pt idx="453">
                  <c:v>40938</c:v>
                </c:pt>
                <c:pt idx="454">
                  <c:v>40939</c:v>
                </c:pt>
                <c:pt idx="455">
                  <c:v>40940</c:v>
                </c:pt>
                <c:pt idx="456">
                  <c:v>40941</c:v>
                </c:pt>
                <c:pt idx="457">
                  <c:v>40942</c:v>
                </c:pt>
                <c:pt idx="458">
                  <c:v>40945</c:v>
                </c:pt>
                <c:pt idx="459">
                  <c:v>40946</c:v>
                </c:pt>
                <c:pt idx="460">
                  <c:v>40947</c:v>
                </c:pt>
                <c:pt idx="461">
                  <c:v>40948</c:v>
                </c:pt>
                <c:pt idx="462">
                  <c:v>40949</c:v>
                </c:pt>
                <c:pt idx="463">
                  <c:v>40952</c:v>
                </c:pt>
                <c:pt idx="464">
                  <c:v>40953</c:v>
                </c:pt>
                <c:pt idx="465">
                  <c:v>40954</c:v>
                </c:pt>
                <c:pt idx="466">
                  <c:v>40955</c:v>
                </c:pt>
                <c:pt idx="467">
                  <c:v>40956</c:v>
                </c:pt>
                <c:pt idx="468">
                  <c:v>40959</c:v>
                </c:pt>
                <c:pt idx="469">
                  <c:v>40960</c:v>
                </c:pt>
                <c:pt idx="470">
                  <c:v>40961</c:v>
                </c:pt>
                <c:pt idx="471">
                  <c:v>40962</c:v>
                </c:pt>
                <c:pt idx="472">
                  <c:v>40963</c:v>
                </c:pt>
                <c:pt idx="473">
                  <c:v>40966</c:v>
                </c:pt>
                <c:pt idx="474">
                  <c:v>40967</c:v>
                </c:pt>
                <c:pt idx="475">
                  <c:v>40968</c:v>
                </c:pt>
                <c:pt idx="476">
                  <c:v>40969</c:v>
                </c:pt>
                <c:pt idx="477">
                  <c:v>40970</c:v>
                </c:pt>
                <c:pt idx="478">
                  <c:v>40973</c:v>
                </c:pt>
                <c:pt idx="479">
                  <c:v>40974</c:v>
                </c:pt>
                <c:pt idx="480">
                  <c:v>40975</c:v>
                </c:pt>
                <c:pt idx="481">
                  <c:v>40976</c:v>
                </c:pt>
                <c:pt idx="482">
                  <c:v>40977</c:v>
                </c:pt>
                <c:pt idx="483">
                  <c:v>40980</c:v>
                </c:pt>
                <c:pt idx="484">
                  <c:v>40981</c:v>
                </c:pt>
                <c:pt idx="485">
                  <c:v>40982</c:v>
                </c:pt>
                <c:pt idx="486">
                  <c:v>40983</c:v>
                </c:pt>
                <c:pt idx="487">
                  <c:v>40984</c:v>
                </c:pt>
                <c:pt idx="488">
                  <c:v>40987</c:v>
                </c:pt>
                <c:pt idx="489">
                  <c:v>40988</c:v>
                </c:pt>
                <c:pt idx="490">
                  <c:v>40989</c:v>
                </c:pt>
                <c:pt idx="491">
                  <c:v>40990</c:v>
                </c:pt>
                <c:pt idx="492">
                  <c:v>40991</c:v>
                </c:pt>
                <c:pt idx="493">
                  <c:v>40994</c:v>
                </c:pt>
                <c:pt idx="494">
                  <c:v>40995</c:v>
                </c:pt>
                <c:pt idx="495">
                  <c:v>40996</c:v>
                </c:pt>
                <c:pt idx="496">
                  <c:v>40997</c:v>
                </c:pt>
                <c:pt idx="497">
                  <c:v>40998</c:v>
                </c:pt>
                <c:pt idx="498">
                  <c:v>41001</c:v>
                </c:pt>
                <c:pt idx="499">
                  <c:v>41002</c:v>
                </c:pt>
                <c:pt idx="500">
                  <c:v>41003</c:v>
                </c:pt>
                <c:pt idx="501">
                  <c:v>41004</c:v>
                </c:pt>
                <c:pt idx="502">
                  <c:v>41009</c:v>
                </c:pt>
                <c:pt idx="503">
                  <c:v>41010</c:v>
                </c:pt>
                <c:pt idx="504">
                  <c:v>41011</c:v>
                </c:pt>
                <c:pt idx="505">
                  <c:v>41012</c:v>
                </c:pt>
                <c:pt idx="506">
                  <c:v>41015</c:v>
                </c:pt>
                <c:pt idx="507">
                  <c:v>41016</c:v>
                </c:pt>
                <c:pt idx="508">
                  <c:v>41017</c:v>
                </c:pt>
                <c:pt idx="509">
                  <c:v>41018</c:v>
                </c:pt>
                <c:pt idx="510">
                  <c:v>41019</c:v>
                </c:pt>
                <c:pt idx="511">
                  <c:v>41022</c:v>
                </c:pt>
                <c:pt idx="512">
                  <c:v>41023</c:v>
                </c:pt>
                <c:pt idx="513">
                  <c:v>41024</c:v>
                </c:pt>
                <c:pt idx="514">
                  <c:v>41025</c:v>
                </c:pt>
                <c:pt idx="515">
                  <c:v>41026</c:v>
                </c:pt>
                <c:pt idx="516">
                  <c:v>41029</c:v>
                </c:pt>
                <c:pt idx="517">
                  <c:v>41030</c:v>
                </c:pt>
                <c:pt idx="518">
                  <c:v>41031</c:v>
                </c:pt>
                <c:pt idx="519">
                  <c:v>41032</c:v>
                </c:pt>
                <c:pt idx="520">
                  <c:v>41033</c:v>
                </c:pt>
                <c:pt idx="521">
                  <c:v>41036</c:v>
                </c:pt>
                <c:pt idx="522">
                  <c:v>41037</c:v>
                </c:pt>
                <c:pt idx="523">
                  <c:v>41038</c:v>
                </c:pt>
                <c:pt idx="524">
                  <c:v>41039</c:v>
                </c:pt>
                <c:pt idx="525">
                  <c:v>41040</c:v>
                </c:pt>
                <c:pt idx="526">
                  <c:v>41043</c:v>
                </c:pt>
                <c:pt idx="527">
                  <c:v>41044</c:v>
                </c:pt>
                <c:pt idx="528">
                  <c:v>41045</c:v>
                </c:pt>
                <c:pt idx="529">
                  <c:v>41046</c:v>
                </c:pt>
                <c:pt idx="530">
                  <c:v>41047</c:v>
                </c:pt>
                <c:pt idx="531">
                  <c:v>41050</c:v>
                </c:pt>
                <c:pt idx="532">
                  <c:v>41051</c:v>
                </c:pt>
                <c:pt idx="533">
                  <c:v>41052</c:v>
                </c:pt>
                <c:pt idx="534">
                  <c:v>41053</c:v>
                </c:pt>
                <c:pt idx="535">
                  <c:v>41054</c:v>
                </c:pt>
                <c:pt idx="536">
                  <c:v>41057</c:v>
                </c:pt>
                <c:pt idx="537">
                  <c:v>41058</c:v>
                </c:pt>
                <c:pt idx="538">
                  <c:v>41059</c:v>
                </c:pt>
                <c:pt idx="539">
                  <c:v>41060</c:v>
                </c:pt>
                <c:pt idx="540">
                  <c:v>41061</c:v>
                </c:pt>
                <c:pt idx="541">
                  <c:v>41064</c:v>
                </c:pt>
                <c:pt idx="542">
                  <c:v>41065</c:v>
                </c:pt>
                <c:pt idx="543">
                  <c:v>41066</c:v>
                </c:pt>
                <c:pt idx="544">
                  <c:v>41067</c:v>
                </c:pt>
                <c:pt idx="545">
                  <c:v>41068</c:v>
                </c:pt>
                <c:pt idx="546">
                  <c:v>41071</c:v>
                </c:pt>
                <c:pt idx="547">
                  <c:v>41072</c:v>
                </c:pt>
                <c:pt idx="548">
                  <c:v>41073</c:v>
                </c:pt>
                <c:pt idx="549">
                  <c:v>41074</c:v>
                </c:pt>
                <c:pt idx="550">
                  <c:v>41075</c:v>
                </c:pt>
                <c:pt idx="551">
                  <c:v>41078</c:v>
                </c:pt>
                <c:pt idx="552">
                  <c:v>41079</c:v>
                </c:pt>
                <c:pt idx="553">
                  <c:v>41080</c:v>
                </c:pt>
                <c:pt idx="554">
                  <c:v>41081</c:v>
                </c:pt>
                <c:pt idx="555">
                  <c:v>41082</c:v>
                </c:pt>
                <c:pt idx="556">
                  <c:v>41085</c:v>
                </c:pt>
                <c:pt idx="557">
                  <c:v>41086</c:v>
                </c:pt>
                <c:pt idx="558">
                  <c:v>41087</c:v>
                </c:pt>
                <c:pt idx="559">
                  <c:v>41088</c:v>
                </c:pt>
                <c:pt idx="560">
                  <c:v>41089</c:v>
                </c:pt>
                <c:pt idx="561">
                  <c:v>41092</c:v>
                </c:pt>
                <c:pt idx="562">
                  <c:v>41093</c:v>
                </c:pt>
                <c:pt idx="563">
                  <c:v>41094</c:v>
                </c:pt>
                <c:pt idx="564">
                  <c:v>41095</c:v>
                </c:pt>
                <c:pt idx="565">
                  <c:v>41096</c:v>
                </c:pt>
                <c:pt idx="566">
                  <c:v>41099</c:v>
                </c:pt>
                <c:pt idx="567">
                  <c:v>41100</c:v>
                </c:pt>
                <c:pt idx="568">
                  <c:v>41101</c:v>
                </c:pt>
                <c:pt idx="569">
                  <c:v>41102</c:v>
                </c:pt>
                <c:pt idx="570">
                  <c:v>41103</c:v>
                </c:pt>
                <c:pt idx="571">
                  <c:v>41106</c:v>
                </c:pt>
                <c:pt idx="572">
                  <c:v>41107</c:v>
                </c:pt>
                <c:pt idx="573">
                  <c:v>41108</c:v>
                </c:pt>
                <c:pt idx="574">
                  <c:v>41109</c:v>
                </c:pt>
                <c:pt idx="575">
                  <c:v>41110</c:v>
                </c:pt>
                <c:pt idx="576">
                  <c:v>41113</c:v>
                </c:pt>
                <c:pt idx="577">
                  <c:v>41114</c:v>
                </c:pt>
                <c:pt idx="578">
                  <c:v>41115</c:v>
                </c:pt>
                <c:pt idx="579">
                  <c:v>41116</c:v>
                </c:pt>
                <c:pt idx="580">
                  <c:v>41117</c:v>
                </c:pt>
                <c:pt idx="581">
                  <c:v>41120</c:v>
                </c:pt>
                <c:pt idx="582">
                  <c:v>41121</c:v>
                </c:pt>
                <c:pt idx="583">
                  <c:v>41122</c:v>
                </c:pt>
                <c:pt idx="584">
                  <c:v>41123</c:v>
                </c:pt>
                <c:pt idx="585">
                  <c:v>41124</c:v>
                </c:pt>
                <c:pt idx="586">
                  <c:v>41127</c:v>
                </c:pt>
                <c:pt idx="587">
                  <c:v>41128</c:v>
                </c:pt>
                <c:pt idx="588">
                  <c:v>41129</c:v>
                </c:pt>
                <c:pt idx="589">
                  <c:v>41130</c:v>
                </c:pt>
                <c:pt idx="590">
                  <c:v>41131</c:v>
                </c:pt>
                <c:pt idx="591">
                  <c:v>41134</c:v>
                </c:pt>
                <c:pt idx="592">
                  <c:v>41135</c:v>
                </c:pt>
                <c:pt idx="593">
                  <c:v>41136</c:v>
                </c:pt>
                <c:pt idx="594">
                  <c:v>41137</c:v>
                </c:pt>
                <c:pt idx="595">
                  <c:v>41138</c:v>
                </c:pt>
                <c:pt idx="596">
                  <c:v>41141</c:v>
                </c:pt>
                <c:pt idx="597">
                  <c:v>41142</c:v>
                </c:pt>
                <c:pt idx="598">
                  <c:v>41143</c:v>
                </c:pt>
                <c:pt idx="599">
                  <c:v>41144</c:v>
                </c:pt>
                <c:pt idx="600">
                  <c:v>41145</c:v>
                </c:pt>
                <c:pt idx="601">
                  <c:v>41148</c:v>
                </c:pt>
                <c:pt idx="602">
                  <c:v>41149</c:v>
                </c:pt>
                <c:pt idx="603">
                  <c:v>41150</c:v>
                </c:pt>
                <c:pt idx="604">
                  <c:v>41151</c:v>
                </c:pt>
                <c:pt idx="605">
                  <c:v>41152</c:v>
                </c:pt>
                <c:pt idx="606">
                  <c:v>41155</c:v>
                </c:pt>
                <c:pt idx="607">
                  <c:v>41156</c:v>
                </c:pt>
                <c:pt idx="608">
                  <c:v>41157</c:v>
                </c:pt>
                <c:pt idx="609">
                  <c:v>41158</c:v>
                </c:pt>
                <c:pt idx="610">
                  <c:v>41159</c:v>
                </c:pt>
                <c:pt idx="611">
                  <c:v>41162</c:v>
                </c:pt>
                <c:pt idx="612">
                  <c:v>41163</c:v>
                </c:pt>
                <c:pt idx="613">
                  <c:v>41164</c:v>
                </c:pt>
                <c:pt idx="614">
                  <c:v>41165</c:v>
                </c:pt>
                <c:pt idx="615">
                  <c:v>41166</c:v>
                </c:pt>
                <c:pt idx="616">
                  <c:v>41169</c:v>
                </c:pt>
                <c:pt idx="617">
                  <c:v>41170</c:v>
                </c:pt>
                <c:pt idx="618">
                  <c:v>41171</c:v>
                </c:pt>
                <c:pt idx="619">
                  <c:v>41172</c:v>
                </c:pt>
                <c:pt idx="620">
                  <c:v>41173</c:v>
                </c:pt>
                <c:pt idx="621">
                  <c:v>41176</c:v>
                </c:pt>
                <c:pt idx="622">
                  <c:v>41177</c:v>
                </c:pt>
                <c:pt idx="623">
                  <c:v>41178</c:v>
                </c:pt>
                <c:pt idx="624">
                  <c:v>41179</c:v>
                </c:pt>
                <c:pt idx="625">
                  <c:v>41180</c:v>
                </c:pt>
                <c:pt idx="626">
                  <c:v>41183</c:v>
                </c:pt>
                <c:pt idx="627">
                  <c:v>41184</c:v>
                </c:pt>
                <c:pt idx="628">
                  <c:v>41185</c:v>
                </c:pt>
                <c:pt idx="629">
                  <c:v>41186</c:v>
                </c:pt>
                <c:pt idx="630">
                  <c:v>41187</c:v>
                </c:pt>
                <c:pt idx="631">
                  <c:v>41190</c:v>
                </c:pt>
                <c:pt idx="632">
                  <c:v>41191</c:v>
                </c:pt>
                <c:pt idx="633">
                  <c:v>41192</c:v>
                </c:pt>
                <c:pt idx="634">
                  <c:v>41193</c:v>
                </c:pt>
                <c:pt idx="635">
                  <c:v>41194</c:v>
                </c:pt>
                <c:pt idx="636">
                  <c:v>41197</c:v>
                </c:pt>
                <c:pt idx="637">
                  <c:v>41198</c:v>
                </c:pt>
                <c:pt idx="638">
                  <c:v>41199</c:v>
                </c:pt>
                <c:pt idx="639">
                  <c:v>41200</c:v>
                </c:pt>
                <c:pt idx="640">
                  <c:v>41201</c:v>
                </c:pt>
                <c:pt idx="641">
                  <c:v>41204</c:v>
                </c:pt>
                <c:pt idx="642">
                  <c:v>41205</c:v>
                </c:pt>
                <c:pt idx="643">
                  <c:v>41206</c:v>
                </c:pt>
                <c:pt idx="644">
                  <c:v>41207</c:v>
                </c:pt>
                <c:pt idx="645">
                  <c:v>41208</c:v>
                </c:pt>
                <c:pt idx="646">
                  <c:v>41211</c:v>
                </c:pt>
                <c:pt idx="647">
                  <c:v>41212</c:v>
                </c:pt>
                <c:pt idx="648">
                  <c:v>41213</c:v>
                </c:pt>
                <c:pt idx="649">
                  <c:v>41214</c:v>
                </c:pt>
                <c:pt idx="650">
                  <c:v>41215</c:v>
                </c:pt>
                <c:pt idx="651">
                  <c:v>41218</c:v>
                </c:pt>
                <c:pt idx="652">
                  <c:v>41219</c:v>
                </c:pt>
                <c:pt idx="653">
                  <c:v>41220</c:v>
                </c:pt>
                <c:pt idx="654">
                  <c:v>41221</c:v>
                </c:pt>
                <c:pt idx="655">
                  <c:v>41222</c:v>
                </c:pt>
                <c:pt idx="656">
                  <c:v>41225</c:v>
                </c:pt>
                <c:pt idx="657">
                  <c:v>41226</c:v>
                </c:pt>
                <c:pt idx="658">
                  <c:v>41227</c:v>
                </c:pt>
                <c:pt idx="659">
                  <c:v>41228</c:v>
                </c:pt>
                <c:pt idx="660">
                  <c:v>41229</c:v>
                </c:pt>
                <c:pt idx="661">
                  <c:v>41232</c:v>
                </c:pt>
                <c:pt idx="662">
                  <c:v>41233</c:v>
                </c:pt>
                <c:pt idx="663">
                  <c:v>41234</c:v>
                </c:pt>
                <c:pt idx="664">
                  <c:v>41235</c:v>
                </c:pt>
                <c:pt idx="665">
                  <c:v>41236</c:v>
                </c:pt>
                <c:pt idx="666">
                  <c:v>41239</c:v>
                </c:pt>
                <c:pt idx="667">
                  <c:v>41240</c:v>
                </c:pt>
                <c:pt idx="668">
                  <c:v>41241</c:v>
                </c:pt>
                <c:pt idx="669">
                  <c:v>41242</c:v>
                </c:pt>
                <c:pt idx="670">
                  <c:v>41243</c:v>
                </c:pt>
                <c:pt idx="671">
                  <c:v>41246</c:v>
                </c:pt>
                <c:pt idx="672">
                  <c:v>41247</c:v>
                </c:pt>
                <c:pt idx="673">
                  <c:v>41248</c:v>
                </c:pt>
                <c:pt idx="674">
                  <c:v>41249</c:v>
                </c:pt>
                <c:pt idx="675">
                  <c:v>41250</c:v>
                </c:pt>
                <c:pt idx="676">
                  <c:v>41253</c:v>
                </c:pt>
                <c:pt idx="677">
                  <c:v>41254</c:v>
                </c:pt>
                <c:pt idx="678">
                  <c:v>41255</c:v>
                </c:pt>
                <c:pt idx="679">
                  <c:v>41256</c:v>
                </c:pt>
                <c:pt idx="680">
                  <c:v>41257</c:v>
                </c:pt>
                <c:pt idx="681">
                  <c:v>41260</c:v>
                </c:pt>
                <c:pt idx="682">
                  <c:v>41261</c:v>
                </c:pt>
                <c:pt idx="683">
                  <c:v>41262</c:v>
                </c:pt>
                <c:pt idx="684">
                  <c:v>41263</c:v>
                </c:pt>
                <c:pt idx="685">
                  <c:v>41264</c:v>
                </c:pt>
                <c:pt idx="686">
                  <c:v>41267</c:v>
                </c:pt>
                <c:pt idx="687">
                  <c:v>41270</c:v>
                </c:pt>
                <c:pt idx="688">
                  <c:v>41271</c:v>
                </c:pt>
                <c:pt idx="689">
                  <c:v>41274</c:v>
                </c:pt>
                <c:pt idx="690">
                  <c:v>41276</c:v>
                </c:pt>
                <c:pt idx="691">
                  <c:v>41277</c:v>
                </c:pt>
                <c:pt idx="692">
                  <c:v>41278</c:v>
                </c:pt>
                <c:pt idx="693">
                  <c:v>41281</c:v>
                </c:pt>
                <c:pt idx="694">
                  <c:v>41282</c:v>
                </c:pt>
                <c:pt idx="695">
                  <c:v>41283</c:v>
                </c:pt>
                <c:pt idx="696">
                  <c:v>41284</c:v>
                </c:pt>
                <c:pt idx="697">
                  <c:v>41285</c:v>
                </c:pt>
                <c:pt idx="698">
                  <c:v>41288</c:v>
                </c:pt>
                <c:pt idx="699">
                  <c:v>41289</c:v>
                </c:pt>
                <c:pt idx="700">
                  <c:v>41290</c:v>
                </c:pt>
                <c:pt idx="701">
                  <c:v>41291</c:v>
                </c:pt>
                <c:pt idx="702">
                  <c:v>41292</c:v>
                </c:pt>
                <c:pt idx="703">
                  <c:v>41295</c:v>
                </c:pt>
                <c:pt idx="704">
                  <c:v>41296</c:v>
                </c:pt>
                <c:pt idx="705">
                  <c:v>41297</c:v>
                </c:pt>
                <c:pt idx="706">
                  <c:v>41298</c:v>
                </c:pt>
                <c:pt idx="707">
                  <c:v>41299</c:v>
                </c:pt>
                <c:pt idx="708">
                  <c:v>41302</c:v>
                </c:pt>
                <c:pt idx="709">
                  <c:v>41303</c:v>
                </c:pt>
                <c:pt idx="710">
                  <c:v>41304</c:v>
                </c:pt>
                <c:pt idx="711">
                  <c:v>41305</c:v>
                </c:pt>
                <c:pt idx="712">
                  <c:v>41306</c:v>
                </c:pt>
                <c:pt idx="713">
                  <c:v>41309</c:v>
                </c:pt>
                <c:pt idx="714">
                  <c:v>41310</c:v>
                </c:pt>
                <c:pt idx="715">
                  <c:v>41311</c:v>
                </c:pt>
                <c:pt idx="716">
                  <c:v>41312</c:v>
                </c:pt>
                <c:pt idx="717">
                  <c:v>41313</c:v>
                </c:pt>
                <c:pt idx="718">
                  <c:v>41316</c:v>
                </c:pt>
                <c:pt idx="719">
                  <c:v>41317</c:v>
                </c:pt>
                <c:pt idx="720">
                  <c:v>41318</c:v>
                </c:pt>
                <c:pt idx="721">
                  <c:v>41319</c:v>
                </c:pt>
                <c:pt idx="722">
                  <c:v>41320</c:v>
                </c:pt>
                <c:pt idx="723">
                  <c:v>41323</c:v>
                </c:pt>
                <c:pt idx="724">
                  <c:v>41324</c:v>
                </c:pt>
                <c:pt idx="725">
                  <c:v>41325</c:v>
                </c:pt>
                <c:pt idx="726">
                  <c:v>41326</c:v>
                </c:pt>
                <c:pt idx="727">
                  <c:v>41327</c:v>
                </c:pt>
                <c:pt idx="728">
                  <c:v>41330</c:v>
                </c:pt>
                <c:pt idx="729">
                  <c:v>41331</c:v>
                </c:pt>
                <c:pt idx="730">
                  <c:v>41332</c:v>
                </c:pt>
                <c:pt idx="731">
                  <c:v>41333</c:v>
                </c:pt>
                <c:pt idx="732">
                  <c:v>41334</c:v>
                </c:pt>
                <c:pt idx="733">
                  <c:v>41337</c:v>
                </c:pt>
                <c:pt idx="734">
                  <c:v>41338</c:v>
                </c:pt>
                <c:pt idx="735">
                  <c:v>41339</c:v>
                </c:pt>
                <c:pt idx="736">
                  <c:v>41340</c:v>
                </c:pt>
                <c:pt idx="737">
                  <c:v>41341</c:v>
                </c:pt>
                <c:pt idx="738">
                  <c:v>41344</c:v>
                </c:pt>
                <c:pt idx="739">
                  <c:v>41345</c:v>
                </c:pt>
                <c:pt idx="740">
                  <c:v>41346</c:v>
                </c:pt>
                <c:pt idx="741">
                  <c:v>41347</c:v>
                </c:pt>
                <c:pt idx="742">
                  <c:v>41348</c:v>
                </c:pt>
                <c:pt idx="743">
                  <c:v>41351</c:v>
                </c:pt>
                <c:pt idx="744">
                  <c:v>41352</c:v>
                </c:pt>
                <c:pt idx="745">
                  <c:v>41353</c:v>
                </c:pt>
                <c:pt idx="746">
                  <c:v>41354</c:v>
                </c:pt>
                <c:pt idx="747">
                  <c:v>41355</c:v>
                </c:pt>
                <c:pt idx="748">
                  <c:v>41358</c:v>
                </c:pt>
                <c:pt idx="749">
                  <c:v>41359</c:v>
                </c:pt>
                <c:pt idx="750">
                  <c:v>41360</c:v>
                </c:pt>
                <c:pt idx="751">
                  <c:v>41361</c:v>
                </c:pt>
                <c:pt idx="752">
                  <c:v>41366</c:v>
                </c:pt>
                <c:pt idx="753">
                  <c:v>41367</c:v>
                </c:pt>
                <c:pt idx="754">
                  <c:v>41368</c:v>
                </c:pt>
                <c:pt idx="755">
                  <c:v>41369</c:v>
                </c:pt>
                <c:pt idx="756">
                  <c:v>41372</c:v>
                </c:pt>
                <c:pt idx="757">
                  <c:v>41373</c:v>
                </c:pt>
                <c:pt idx="758">
                  <c:v>41374</c:v>
                </c:pt>
                <c:pt idx="759">
                  <c:v>41375</c:v>
                </c:pt>
                <c:pt idx="760">
                  <c:v>41376</c:v>
                </c:pt>
                <c:pt idx="761">
                  <c:v>41379</c:v>
                </c:pt>
                <c:pt idx="762">
                  <c:v>41380</c:v>
                </c:pt>
                <c:pt idx="763">
                  <c:v>41381</c:v>
                </c:pt>
                <c:pt idx="764">
                  <c:v>41382</c:v>
                </c:pt>
                <c:pt idx="765">
                  <c:v>41383</c:v>
                </c:pt>
                <c:pt idx="766">
                  <c:v>41386</c:v>
                </c:pt>
                <c:pt idx="767">
                  <c:v>41387</c:v>
                </c:pt>
                <c:pt idx="768">
                  <c:v>41388</c:v>
                </c:pt>
                <c:pt idx="769">
                  <c:v>41389</c:v>
                </c:pt>
                <c:pt idx="770">
                  <c:v>41390</c:v>
                </c:pt>
                <c:pt idx="771">
                  <c:v>41393</c:v>
                </c:pt>
                <c:pt idx="772">
                  <c:v>41394</c:v>
                </c:pt>
                <c:pt idx="773">
                  <c:v>41395</c:v>
                </c:pt>
                <c:pt idx="774">
                  <c:v>41396</c:v>
                </c:pt>
                <c:pt idx="775">
                  <c:v>41397</c:v>
                </c:pt>
                <c:pt idx="776">
                  <c:v>41400</c:v>
                </c:pt>
                <c:pt idx="777">
                  <c:v>41401</c:v>
                </c:pt>
                <c:pt idx="778">
                  <c:v>41402</c:v>
                </c:pt>
                <c:pt idx="779">
                  <c:v>41403</c:v>
                </c:pt>
                <c:pt idx="780">
                  <c:v>41404</c:v>
                </c:pt>
                <c:pt idx="781">
                  <c:v>41407</c:v>
                </c:pt>
                <c:pt idx="782">
                  <c:v>41408</c:v>
                </c:pt>
                <c:pt idx="783">
                  <c:v>41409</c:v>
                </c:pt>
                <c:pt idx="784">
                  <c:v>41410</c:v>
                </c:pt>
                <c:pt idx="785">
                  <c:v>41411</c:v>
                </c:pt>
                <c:pt idx="786">
                  <c:v>41414</c:v>
                </c:pt>
                <c:pt idx="787">
                  <c:v>41415</c:v>
                </c:pt>
                <c:pt idx="788">
                  <c:v>41416</c:v>
                </c:pt>
                <c:pt idx="789">
                  <c:v>41417</c:v>
                </c:pt>
                <c:pt idx="790">
                  <c:v>41418</c:v>
                </c:pt>
                <c:pt idx="791">
                  <c:v>41421</c:v>
                </c:pt>
                <c:pt idx="792">
                  <c:v>41422</c:v>
                </c:pt>
                <c:pt idx="793">
                  <c:v>41423</c:v>
                </c:pt>
                <c:pt idx="794">
                  <c:v>41424</c:v>
                </c:pt>
                <c:pt idx="795">
                  <c:v>41425</c:v>
                </c:pt>
                <c:pt idx="796">
                  <c:v>41428</c:v>
                </c:pt>
                <c:pt idx="797">
                  <c:v>41429</c:v>
                </c:pt>
                <c:pt idx="798">
                  <c:v>41430</c:v>
                </c:pt>
                <c:pt idx="799">
                  <c:v>41431</c:v>
                </c:pt>
                <c:pt idx="800">
                  <c:v>41432</c:v>
                </c:pt>
                <c:pt idx="801">
                  <c:v>41435</c:v>
                </c:pt>
                <c:pt idx="802">
                  <c:v>41436</c:v>
                </c:pt>
                <c:pt idx="803">
                  <c:v>41437</c:v>
                </c:pt>
                <c:pt idx="804">
                  <c:v>41438</c:v>
                </c:pt>
                <c:pt idx="805">
                  <c:v>41439</c:v>
                </c:pt>
                <c:pt idx="806">
                  <c:v>41442</c:v>
                </c:pt>
                <c:pt idx="807">
                  <c:v>41443</c:v>
                </c:pt>
                <c:pt idx="808">
                  <c:v>41444</c:v>
                </c:pt>
                <c:pt idx="809">
                  <c:v>41445</c:v>
                </c:pt>
                <c:pt idx="810">
                  <c:v>41446</c:v>
                </c:pt>
                <c:pt idx="811">
                  <c:v>41449</c:v>
                </c:pt>
                <c:pt idx="812">
                  <c:v>41450</c:v>
                </c:pt>
                <c:pt idx="813">
                  <c:v>41451</c:v>
                </c:pt>
                <c:pt idx="814">
                  <c:v>41452</c:v>
                </c:pt>
                <c:pt idx="815">
                  <c:v>41453</c:v>
                </c:pt>
                <c:pt idx="816">
                  <c:v>41456</c:v>
                </c:pt>
                <c:pt idx="817">
                  <c:v>41457</c:v>
                </c:pt>
                <c:pt idx="818">
                  <c:v>41458</c:v>
                </c:pt>
                <c:pt idx="819">
                  <c:v>41459</c:v>
                </c:pt>
                <c:pt idx="820">
                  <c:v>41460</c:v>
                </c:pt>
                <c:pt idx="821">
                  <c:v>41463</c:v>
                </c:pt>
                <c:pt idx="822">
                  <c:v>41464</c:v>
                </c:pt>
                <c:pt idx="823">
                  <c:v>41465</c:v>
                </c:pt>
                <c:pt idx="824">
                  <c:v>41466</c:v>
                </c:pt>
                <c:pt idx="825">
                  <c:v>41467</c:v>
                </c:pt>
                <c:pt idx="826">
                  <c:v>41470</c:v>
                </c:pt>
                <c:pt idx="827">
                  <c:v>41471</c:v>
                </c:pt>
                <c:pt idx="828">
                  <c:v>41472</c:v>
                </c:pt>
                <c:pt idx="829">
                  <c:v>41473</c:v>
                </c:pt>
                <c:pt idx="830">
                  <c:v>41474</c:v>
                </c:pt>
                <c:pt idx="831">
                  <c:v>41477</c:v>
                </c:pt>
                <c:pt idx="832">
                  <c:v>41478</c:v>
                </c:pt>
                <c:pt idx="833">
                  <c:v>41479</c:v>
                </c:pt>
                <c:pt idx="834">
                  <c:v>41480</c:v>
                </c:pt>
                <c:pt idx="835">
                  <c:v>41481</c:v>
                </c:pt>
                <c:pt idx="836">
                  <c:v>41484</c:v>
                </c:pt>
                <c:pt idx="837">
                  <c:v>41485</c:v>
                </c:pt>
                <c:pt idx="838">
                  <c:v>41486</c:v>
                </c:pt>
                <c:pt idx="839">
                  <c:v>41487</c:v>
                </c:pt>
                <c:pt idx="840">
                  <c:v>41488</c:v>
                </c:pt>
                <c:pt idx="841">
                  <c:v>41491</c:v>
                </c:pt>
                <c:pt idx="842">
                  <c:v>41492</c:v>
                </c:pt>
                <c:pt idx="843">
                  <c:v>41493</c:v>
                </c:pt>
                <c:pt idx="844">
                  <c:v>41494</c:v>
                </c:pt>
                <c:pt idx="845">
                  <c:v>41495</c:v>
                </c:pt>
                <c:pt idx="846">
                  <c:v>41498</c:v>
                </c:pt>
                <c:pt idx="847">
                  <c:v>41499</c:v>
                </c:pt>
                <c:pt idx="848">
                  <c:v>41500</c:v>
                </c:pt>
                <c:pt idx="849">
                  <c:v>41501</c:v>
                </c:pt>
                <c:pt idx="850">
                  <c:v>41502</c:v>
                </c:pt>
                <c:pt idx="851">
                  <c:v>41505</c:v>
                </c:pt>
                <c:pt idx="852">
                  <c:v>41506</c:v>
                </c:pt>
                <c:pt idx="853">
                  <c:v>41507</c:v>
                </c:pt>
                <c:pt idx="854">
                  <c:v>41508</c:v>
                </c:pt>
                <c:pt idx="855">
                  <c:v>41509</c:v>
                </c:pt>
                <c:pt idx="856">
                  <c:v>41512</c:v>
                </c:pt>
                <c:pt idx="857">
                  <c:v>41513</c:v>
                </c:pt>
                <c:pt idx="858">
                  <c:v>41514</c:v>
                </c:pt>
                <c:pt idx="859">
                  <c:v>41515</c:v>
                </c:pt>
                <c:pt idx="860">
                  <c:v>41516</c:v>
                </c:pt>
                <c:pt idx="861">
                  <c:v>41519</c:v>
                </c:pt>
                <c:pt idx="862">
                  <c:v>41520</c:v>
                </c:pt>
                <c:pt idx="863">
                  <c:v>41521</c:v>
                </c:pt>
                <c:pt idx="864">
                  <c:v>41522</c:v>
                </c:pt>
                <c:pt idx="865">
                  <c:v>41523</c:v>
                </c:pt>
                <c:pt idx="866">
                  <c:v>41526</c:v>
                </c:pt>
                <c:pt idx="867">
                  <c:v>41527</c:v>
                </c:pt>
                <c:pt idx="868">
                  <c:v>41528</c:v>
                </c:pt>
                <c:pt idx="869">
                  <c:v>41529</c:v>
                </c:pt>
                <c:pt idx="870">
                  <c:v>41530</c:v>
                </c:pt>
                <c:pt idx="871">
                  <c:v>41533</c:v>
                </c:pt>
                <c:pt idx="872">
                  <c:v>41534</c:v>
                </c:pt>
                <c:pt idx="873">
                  <c:v>41535</c:v>
                </c:pt>
                <c:pt idx="874">
                  <c:v>41536</c:v>
                </c:pt>
                <c:pt idx="875">
                  <c:v>41537</c:v>
                </c:pt>
                <c:pt idx="876">
                  <c:v>41540</c:v>
                </c:pt>
                <c:pt idx="877">
                  <c:v>41541</c:v>
                </c:pt>
                <c:pt idx="878">
                  <c:v>41542</c:v>
                </c:pt>
                <c:pt idx="879">
                  <c:v>41543</c:v>
                </c:pt>
                <c:pt idx="880">
                  <c:v>41544</c:v>
                </c:pt>
                <c:pt idx="881">
                  <c:v>41547</c:v>
                </c:pt>
                <c:pt idx="882">
                  <c:v>41548</c:v>
                </c:pt>
                <c:pt idx="883">
                  <c:v>41549</c:v>
                </c:pt>
                <c:pt idx="884">
                  <c:v>41550</c:v>
                </c:pt>
                <c:pt idx="885">
                  <c:v>41551</c:v>
                </c:pt>
                <c:pt idx="886">
                  <c:v>41554</c:v>
                </c:pt>
                <c:pt idx="887">
                  <c:v>41555</c:v>
                </c:pt>
                <c:pt idx="888">
                  <c:v>41556</c:v>
                </c:pt>
                <c:pt idx="889">
                  <c:v>41557</c:v>
                </c:pt>
                <c:pt idx="890">
                  <c:v>41558</c:v>
                </c:pt>
                <c:pt idx="891">
                  <c:v>41561</c:v>
                </c:pt>
                <c:pt idx="892">
                  <c:v>41562</c:v>
                </c:pt>
                <c:pt idx="893">
                  <c:v>41563</c:v>
                </c:pt>
                <c:pt idx="894">
                  <c:v>41564</c:v>
                </c:pt>
                <c:pt idx="895">
                  <c:v>41565</c:v>
                </c:pt>
                <c:pt idx="896">
                  <c:v>41568</c:v>
                </c:pt>
                <c:pt idx="897">
                  <c:v>41569</c:v>
                </c:pt>
                <c:pt idx="898">
                  <c:v>41570</c:v>
                </c:pt>
                <c:pt idx="899">
                  <c:v>41571</c:v>
                </c:pt>
                <c:pt idx="900">
                  <c:v>41572</c:v>
                </c:pt>
                <c:pt idx="901">
                  <c:v>41575</c:v>
                </c:pt>
                <c:pt idx="902">
                  <c:v>41576</c:v>
                </c:pt>
                <c:pt idx="903">
                  <c:v>41577</c:v>
                </c:pt>
                <c:pt idx="904">
                  <c:v>41578</c:v>
                </c:pt>
                <c:pt idx="905">
                  <c:v>41579</c:v>
                </c:pt>
                <c:pt idx="906">
                  <c:v>41582</c:v>
                </c:pt>
                <c:pt idx="907">
                  <c:v>41583</c:v>
                </c:pt>
                <c:pt idx="908">
                  <c:v>41584</c:v>
                </c:pt>
                <c:pt idx="909">
                  <c:v>41585</c:v>
                </c:pt>
                <c:pt idx="910">
                  <c:v>41586</c:v>
                </c:pt>
                <c:pt idx="911">
                  <c:v>41589</c:v>
                </c:pt>
                <c:pt idx="912">
                  <c:v>41590</c:v>
                </c:pt>
                <c:pt idx="913">
                  <c:v>41591</c:v>
                </c:pt>
                <c:pt idx="914">
                  <c:v>41592</c:v>
                </c:pt>
                <c:pt idx="915">
                  <c:v>41593</c:v>
                </c:pt>
                <c:pt idx="916">
                  <c:v>41596</c:v>
                </c:pt>
                <c:pt idx="917">
                  <c:v>41597</c:v>
                </c:pt>
                <c:pt idx="918">
                  <c:v>41598</c:v>
                </c:pt>
                <c:pt idx="919">
                  <c:v>41599</c:v>
                </c:pt>
                <c:pt idx="920">
                  <c:v>41600</c:v>
                </c:pt>
                <c:pt idx="921">
                  <c:v>41603</c:v>
                </c:pt>
                <c:pt idx="922">
                  <c:v>41604</c:v>
                </c:pt>
                <c:pt idx="923">
                  <c:v>41605</c:v>
                </c:pt>
                <c:pt idx="924">
                  <c:v>41606</c:v>
                </c:pt>
                <c:pt idx="925">
                  <c:v>41607</c:v>
                </c:pt>
                <c:pt idx="926">
                  <c:v>41610</c:v>
                </c:pt>
                <c:pt idx="927">
                  <c:v>41611</c:v>
                </c:pt>
                <c:pt idx="928">
                  <c:v>41612</c:v>
                </c:pt>
                <c:pt idx="929">
                  <c:v>41613</c:v>
                </c:pt>
                <c:pt idx="930">
                  <c:v>41614</c:v>
                </c:pt>
                <c:pt idx="931">
                  <c:v>41617</c:v>
                </c:pt>
                <c:pt idx="932">
                  <c:v>41618</c:v>
                </c:pt>
                <c:pt idx="933">
                  <c:v>41619</c:v>
                </c:pt>
                <c:pt idx="934">
                  <c:v>41620</c:v>
                </c:pt>
                <c:pt idx="935">
                  <c:v>41621</c:v>
                </c:pt>
                <c:pt idx="936">
                  <c:v>41624</c:v>
                </c:pt>
                <c:pt idx="937">
                  <c:v>41625</c:v>
                </c:pt>
                <c:pt idx="938">
                  <c:v>41626</c:v>
                </c:pt>
                <c:pt idx="939">
                  <c:v>41627</c:v>
                </c:pt>
                <c:pt idx="940">
                  <c:v>41628</c:v>
                </c:pt>
                <c:pt idx="941">
                  <c:v>41631</c:v>
                </c:pt>
                <c:pt idx="942">
                  <c:v>41632</c:v>
                </c:pt>
                <c:pt idx="943">
                  <c:v>41635</c:v>
                </c:pt>
                <c:pt idx="944">
                  <c:v>41638</c:v>
                </c:pt>
                <c:pt idx="945">
                  <c:v>41639</c:v>
                </c:pt>
                <c:pt idx="946">
                  <c:v>41641</c:v>
                </c:pt>
                <c:pt idx="947">
                  <c:v>41642</c:v>
                </c:pt>
                <c:pt idx="948">
                  <c:v>41645</c:v>
                </c:pt>
                <c:pt idx="949">
                  <c:v>41646</c:v>
                </c:pt>
                <c:pt idx="950">
                  <c:v>41647</c:v>
                </c:pt>
                <c:pt idx="951">
                  <c:v>41648</c:v>
                </c:pt>
                <c:pt idx="952">
                  <c:v>41649</c:v>
                </c:pt>
                <c:pt idx="953">
                  <c:v>41652</c:v>
                </c:pt>
                <c:pt idx="954">
                  <c:v>41653</c:v>
                </c:pt>
                <c:pt idx="955">
                  <c:v>41654</c:v>
                </c:pt>
                <c:pt idx="956">
                  <c:v>41655</c:v>
                </c:pt>
                <c:pt idx="957">
                  <c:v>41656</c:v>
                </c:pt>
                <c:pt idx="958">
                  <c:v>41659</c:v>
                </c:pt>
                <c:pt idx="959">
                  <c:v>41660</c:v>
                </c:pt>
                <c:pt idx="960">
                  <c:v>41661</c:v>
                </c:pt>
                <c:pt idx="961">
                  <c:v>41662</c:v>
                </c:pt>
                <c:pt idx="962">
                  <c:v>41663</c:v>
                </c:pt>
                <c:pt idx="963">
                  <c:v>41666</c:v>
                </c:pt>
                <c:pt idx="964">
                  <c:v>41667</c:v>
                </c:pt>
                <c:pt idx="965">
                  <c:v>41668</c:v>
                </c:pt>
                <c:pt idx="966">
                  <c:v>41669</c:v>
                </c:pt>
                <c:pt idx="967">
                  <c:v>41670</c:v>
                </c:pt>
                <c:pt idx="968">
                  <c:v>41673</c:v>
                </c:pt>
                <c:pt idx="969">
                  <c:v>41674</c:v>
                </c:pt>
                <c:pt idx="970">
                  <c:v>41675</c:v>
                </c:pt>
                <c:pt idx="971">
                  <c:v>41676</c:v>
                </c:pt>
                <c:pt idx="972">
                  <c:v>41677</c:v>
                </c:pt>
                <c:pt idx="973">
                  <c:v>41680</c:v>
                </c:pt>
                <c:pt idx="974">
                  <c:v>41681</c:v>
                </c:pt>
                <c:pt idx="975">
                  <c:v>41682</c:v>
                </c:pt>
                <c:pt idx="976">
                  <c:v>41683</c:v>
                </c:pt>
                <c:pt idx="977">
                  <c:v>41684</c:v>
                </c:pt>
                <c:pt idx="978">
                  <c:v>41687</c:v>
                </c:pt>
                <c:pt idx="979">
                  <c:v>41688</c:v>
                </c:pt>
                <c:pt idx="980">
                  <c:v>41689</c:v>
                </c:pt>
                <c:pt idx="981">
                  <c:v>41690</c:v>
                </c:pt>
                <c:pt idx="982">
                  <c:v>41691</c:v>
                </c:pt>
                <c:pt idx="983">
                  <c:v>41694</c:v>
                </c:pt>
                <c:pt idx="984">
                  <c:v>41695</c:v>
                </c:pt>
                <c:pt idx="985">
                  <c:v>41696</c:v>
                </c:pt>
                <c:pt idx="986">
                  <c:v>41697</c:v>
                </c:pt>
                <c:pt idx="987">
                  <c:v>41698</c:v>
                </c:pt>
                <c:pt idx="988">
                  <c:v>41701</c:v>
                </c:pt>
                <c:pt idx="989">
                  <c:v>41702</c:v>
                </c:pt>
                <c:pt idx="990">
                  <c:v>41703</c:v>
                </c:pt>
                <c:pt idx="991">
                  <c:v>41704</c:v>
                </c:pt>
                <c:pt idx="992">
                  <c:v>41705</c:v>
                </c:pt>
                <c:pt idx="993">
                  <c:v>41708</c:v>
                </c:pt>
                <c:pt idx="994">
                  <c:v>41709</c:v>
                </c:pt>
                <c:pt idx="995">
                  <c:v>41710</c:v>
                </c:pt>
                <c:pt idx="996">
                  <c:v>41711</c:v>
                </c:pt>
                <c:pt idx="997">
                  <c:v>41712</c:v>
                </c:pt>
                <c:pt idx="998">
                  <c:v>41715</c:v>
                </c:pt>
                <c:pt idx="999">
                  <c:v>41716</c:v>
                </c:pt>
                <c:pt idx="1000">
                  <c:v>41717</c:v>
                </c:pt>
                <c:pt idx="1001">
                  <c:v>41718</c:v>
                </c:pt>
                <c:pt idx="1002">
                  <c:v>41719</c:v>
                </c:pt>
                <c:pt idx="1003">
                  <c:v>41722</c:v>
                </c:pt>
                <c:pt idx="1004">
                  <c:v>41723</c:v>
                </c:pt>
                <c:pt idx="1005">
                  <c:v>41724</c:v>
                </c:pt>
                <c:pt idx="1006">
                  <c:v>41725</c:v>
                </c:pt>
                <c:pt idx="1007">
                  <c:v>41726</c:v>
                </c:pt>
                <c:pt idx="1008">
                  <c:v>41729</c:v>
                </c:pt>
                <c:pt idx="1009">
                  <c:v>41730</c:v>
                </c:pt>
                <c:pt idx="1010">
                  <c:v>41731</c:v>
                </c:pt>
                <c:pt idx="1011">
                  <c:v>41732</c:v>
                </c:pt>
                <c:pt idx="1012">
                  <c:v>41733</c:v>
                </c:pt>
                <c:pt idx="1013">
                  <c:v>41736</c:v>
                </c:pt>
                <c:pt idx="1014">
                  <c:v>41737</c:v>
                </c:pt>
                <c:pt idx="1015">
                  <c:v>41738</c:v>
                </c:pt>
                <c:pt idx="1016">
                  <c:v>41739</c:v>
                </c:pt>
                <c:pt idx="1017">
                  <c:v>41740</c:v>
                </c:pt>
                <c:pt idx="1018">
                  <c:v>41743</c:v>
                </c:pt>
                <c:pt idx="1019">
                  <c:v>41744</c:v>
                </c:pt>
                <c:pt idx="1020">
                  <c:v>41745</c:v>
                </c:pt>
                <c:pt idx="1021">
                  <c:v>41746</c:v>
                </c:pt>
                <c:pt idx="1022">
                  <c:v>41751</c:v>
                </c:pt>
                <c:pt idx="1023">
                  <c:v>41752</c:v>
                </c:pt>
                <c:pt idx="1024">
                  <c:v>41753</c:v>
                </c:pt>
                <c:pt idx="1025">
                  <c:v>41754</c:v>
                </c:pt>
                <c:pt idx="1026">
                  <c:v>41757</c:v>
                </c:pt>
                <c:pt idx="1027">
                  <c:v>41758</c:v>
                </c:pt>
                <c:pt idx="1028">
                  <c:v>41759</c:v>
                </c:pt>
                <c:pt idx="1029">
                  <c:v>41760</c:v>
                </c:pt>
                <c:pt idx="1030">
                  <c:v>41761</c:v>
                </c:pt>
                <c:pt idx="1031">
                  <c:v>41764</c:v>
                </c:pt>
                <c:pt idx="1032">
                  <c:v>41765</c:v>
                </c:pt>
                <c:pt idx="1033">
                  <c:v>41766</c:v>
                </c:pt>
                <c:pt idx="1034">
                  <c:v>41767</c:v>
                </c:pt>
                <c:pt idx="1035">
                  <c:v>41768</c:v>
                </c:pt>
                <c:pt idx="1036">
                  <c:v>41771</c:v>
                </c:pt>
                <c:pt idx="1037">
                  <c:v>41772</c:v>
                </c:pt>
                <c:pt idx="1038">
                  <c:v>41773</c:v>
                </c:pt>
                <c:pt idx="1039">
                  <c:v>41774</c:v>
                </c:pt>
                <c:pt idx="1040">
                  <c:v>41775</c:v>
                </c:pt>
                <c:pt idx="1041">
                  <c:v>41778</c:v>
                </c:pt>
                <c:pt idx="1042">
                  <c:v>41779</c:v>
                </c:pt>
                <c:pt idx="1043">
                  <c:v>41780</c:v>
                </c:pt>
                <c:pt idx="1044">
                  <c:v>41781</c:v>
                </c:pt>
                <c:pt idx="1045">
                  <c:v>41782</c:v>
                </c:pt>
                <c:pt idx="1046">
                  <c:v>41785</c:v>
                </c:pt>
                <c:pt idx="1047">
                  <c:v>41786</c:v>
                </c:pt>
                <c:pt idx="1048">
                  <c:v>41787</c:v>
                </c:pt>
                <c:pt idx="1049">
                  <c:v>41788</c:v>
                </c:pt>
                <c:pt idx="1050">
                  <c:v>41789</c:v>
                </c:pt>
                <c:pt idx="1051">
                  <c:v>41792</c:v>
                </c:pt>
                <c:pt idx="1052">
                  <c:v>41793</c:v>
                </c:pt>
                <c:pt idx="1053">
                  <c:v>41794</c:v>
                </c:pt>
                <c:pt idx="1054">
                  <c:v>41795</c:v>
                </c:pt>
                <c:pt idx="1055">
                  <c:v>41796</c:v>
                </c:pt>
                <c:pt idx="1056">
                  <c:v>41799</c:v>
                </c:pt>
                <c:pt idx="1057">
                  <c:v>41800</c:v>
                </c:pt>
                <c:pt idx="1058">
                  <c:v>41801</c:v>
                </c:pt>
                <c:pt idx="1059">
                  <c:v>41802</c:v>
                </c:pt>
                <c:pt idx="1060">
                  <c:v>41803</c:v>
                </c:pt>
                <c:pt idx="1061">
                  <c:v>41806</c:v>
                </c:pt>
                <c:pt idx="1062">
                  <c:v>41807</c:v>
                </c:pt>
                <c:pt idx="1063">
                  <c:v>41808</c:v>
                </c:pt>
                <c:pt idx="1064">
                  <c:v>41809</c:v>
                </c:pt>
                <c:pt idx="1065">
                  <c:v>41810</c:v>
                </c:pt>
                <c:pt idx="1066">
                  <c:v>41813</c:v>
                </c:pt>
                <c:pt idx="1067">
                  <c:v>41814</c:v>
                </c:pt>
                <c:pt idx="1068">
                  <c:v>41815</c:v>
                </c:pt>
                <c:pt idx="1069">
                  <c:v>41816</c:v>
                </c:pt>
                <c:pt idx="1070">
                  <c:v>41817</c:v>
                </c:pt>
                <c:pt idx="1071">
                  <c:v>41820</c:v>
                </c:pt>
                <c:pt idx="1072">
                  <c:v>41821</c:v>
                </c:pt>
                <c:pt idx="1073">
                  <c:v>41822</c:v>
                </c:pt>
                <c:pt idx="1074">
                  <c:v>41823</c:v>
                </c:pt>
                <c:pt idx="1075">
                  <c:v>41824</c:v>
                </c:pt>
                <c:pt idx="1076">
                  <c:v>41827</c:v>
                </c:pt>
                <c:pt idx="1077">
                  <c:v>41828</c:v>
                </c:pt>
                <c:pt idx="1078">
                  <c:v>41829</c:v>
                </c:pt>
                <c:pt idx="1079">
                  <c:v>41830</c:v>
                </c:pt>
                <c:pt idx="1080">
                  <c:v>41831</c:v>
                </c:pt>
                <c:pt idx="1081">
                  <c:v>41834</c:v>
                </c:pt>
                <c:pt idx="1082">
                  <c:v>41835</c:v>
                </c:pt>
                <c:pt idx="1083">
                  <c:v>41836</c:v>
                </c:pt>
                <c:pt idx="1084">
                  <c:v>41837</c:v>
                </c:pt>
                <c:pt idx="1085">
                  <c:v>41838</c:v>
                </c:pt>
                <c:pt idx="1086">
                  <c:v>41841</c:v>
                </c:pt>
                <c:pt idx="1087">
                  <c:v>41842</c:v>
                </c:pt>
                <c:pt idx="1088">
                  <c:v>41843</c:v>
                </c:pt>
                <c:pt idx="1089">
                  <c:v>41844</c:v>
                </c:pt>
                <c:pt idx="1090">
                  <c:v>41845</c:v>
                </c:pt>
                <c:pt idx="1091">
                  <c:v>41848</c:v>
                </c:pt>
                <c:pt idx="1092">
                  <c:v>41849</c:v>
                </c:pt>
                <c:pt idx="1093">
                  <c:v>41850</c:v>
                </c:pt>
                <c:pt idx="1094">
                  <c:v>41851</c:v>
                </c:pt>
                <c:pt idx="1095">
                  <c:v>41852</c:v>
                </c:pt>
                <c:pt idx="1096">
                  <c:v>41855</c:v>
                </c:pt>
                <c:pt idx="1097">
                  <c:v>41856</c:v>
                </c:pt>
                <c:pt idx="1098">
                  <c:v>41857</c:v>
                </c:pt>
                <c:pt idx="1099">
                  <c:v>41858</c:v>
                </c:pt>
                <c:pt idx="1100">
                  <c:v>41859</c:v>
                </c:pt>
                <c:pt idx="1101">
                  <c:v>41862</c:v>
                </c:pt>
                <c:pt idx="1102">
                  <c:v>41863</c:v>
                </c:pt>
                <c:pt idx="1103">
                  <c:v>41864</c:v>
                </c:pt>
                <c:pt idx="1104">
                  <c:v>41865</c:v>
                </c:pt>
                <c:pt idx="1105">
                  <c:v>41866</c:v>
                </c:pt>
                <c:pt idx="1106">
                  <c:v>41869</c:v>
                </c:pt>
                <c:pt idx="1107">
                  <c:v>41870</c:v>
                </c:pt>
                <c:pt idx="1108">
                  <c:v>41871</c:v>
                </c:pt>
                <c:pt idx="1109">
                  <c:v>41872</c:v>
                </c:pt>
                <c:pt idx="1110">
                  <c:v>41873</c:v>
                </c:pt>
                <c:pt idx="1111">
                  <c:v>41876</c:v>
                </c:pt>
                <c:pt idx="1112">
                  <c:v>41877</c:v>
                </c:pt>
                <c:pt idx="1113">
                  <c:v>41878</c:v>
                </c:pt>
                <c:pt idx="1114">
                  <c:v>41879</c:v>
                </c:pt>
                <c:pt idx="1115">
                  <c:v>41880</c:v>
                </c:pt>
                <c:pt idx="1116">
                  <c:v>41883</c:v>
                </c:pt>
                <c:pt idx="1117">
                  <c:v>41884</c:v>
                </c:pt>
                <c:pt idx="1118">
                  <c:v>41885</c:v>
                </c:pt>
                <c:pt idx="1119">
                  <c:v>41886</c:v>
                </c:pt>
                <c:pt idx="1120">
                  <c:v>41887</c:v>
                </c:pt>
                <c:pt idx="1121">
                  <c:v>41890</c:v>
                </c:pt>
                <c:pt idx="1122">
                  <c:v>41891</c:v>
                </c:pt>
                <c:pt idx="1123">
                  <c:v>41892</c:v>
                </c:pt>
                <c:pt idx="1124">
                  <c:v>41893</c:v>
                </c:pt>
                <c:pt idx="1125">
                  <c:v>41894</c:v>
                </c:pt>
                <c:pt idx="1126">
                  <c:v>41897</c:v>
                </c:pt>
                <c:pt idx="1127">
                  <c:v>41898</c:v>
                </c:pt>
                <c:pt idx="1128">
                  <c:v>41899</c:v>
                </c:pt>
                <c:pt idx="1129">
                  <c:v>41900</c:v>
                </c:pt>
                <c:pt idx="1130">
                  <c:v>41901</c:v>
                </c:pt>
                <c:pt idx="1131">
                  <c:v>41904</c:v>
                </c:pt>
                <c:pt idx="1132">
                  <c:v>41905</c:v>
                </c:pt>
                <c:pt idx="1133">
                  <c:v>41906</c:v>
                </c:pt>
                <c:pt idx="1134">
                  <c:v>41907</c:v>
                </c:pt>
                <c:pt idx="1135">
                  <c:v>41908</c:v>
                </c:pt>
                <c:pt idx="1136">
                  <c:v>41911</c:v>
                </c:pt>
                <c:pt idx="1137">
                  <c:v>41912</c:v>
                </c:pt>
                <c:pt idx="1138">
                  <c:v>41913</c:v>
                </c:pt>
                <c:pt idx="1139">
                  <c:v>41914</c:v>
                </c:pt>
                <c:pt idx="1140">
                  <c:v>41915</c:v>
                </c:pt>
                <c:pt idx="1141">
                  <c:v>41918</c:v>
                </c:pt>
                <c:pt idx="1142">
                  <c:v>41919</c:v>
                </c:pt>
                <c:pt idx="1143">
                  <c:v>41920</c:v>
                </c:pt>
                <c:pt idx="1144">
                  <c:v>41921</c:v>
                </c:pt>
                <c:pt idx="1145">
                  <c:v>41922</c:v>
                </c:pt>
                <c:pt idx="1146">
                  <c:v>41925</c:v>
                </c:pt>
                <c:pt idx="1147">
                  <c:v>41926</c:v>
                </c:pt>
                <c:pt idx="1148">
                  <c:v>41927</c:v>
                </c:pt>
                <c:pt idx="1149">
                  <c:v>41928</c:v>
                </c:pt>
                <c:pt idx="1150">
                  <c:v>41929</c:v>
                </c:pt>
                <c:pt idx="1151">
                  <c:v>41932</c:v>
                </c:pt>
                <c:pt idx="1152">
                  <c:v>41933</c:v>
                </c:pt>
                <c:pt idx="1153">
                  <c:v>41934</c:v>
                </c:pt>
                <c:pt idx="1154">
                  <c:v>41935</c:v>
                </c:pt>
                <c:pt idx="1155">
                  <c:v>41936</c:v>
                </c:pt>
                <c:pt idx="1156">
                  <c:v>41939</c:v>
                </c:pt>
                <c:pt idx="1157">
                  <c:v>41940</c:v>
                </c:pt>
                <c:pt idx="1158">
                  <c:v>41941</c:v>
                </c:pt>
                <c:pt idx="1159">
                  <c:v>41942</c:v>
                </c:pt>
                <c:pt idx="1160">
                  <c:v>41943</c:v>
                </c:pt>
                <c:pt idx="1161">
                  <c:v>41946</c:v>
                </c:pt>
                <c:pt idx="1162">
                  <c:v>41947</c:v>
                </c:pt>
                <c:pt idx="1163">
                  <c:v>41948</c:v>
                </c:pt>
                <c:pt idx="1164">
                  <c:v>41949</c:v>
                </c:pt>
                <c:pt idx="1165">
                  <c:v>41950</c:v>
                </c:pt>
                <c:pt idx="1166">
                  <c:v>41953</c:v>
                </c:pt>
                <c:pt idx="1167">
                  <c:v>41954</c:v>
                </c:pt>
                <c:pt idx="1168">
                  <c:v>41955</c:v>
                </c:pt>
                <c:pt idx="1169">
                  <c:v>41956</c:v>
                </c:pt>
                <c:pt idx="1170">
                  <c:v>41957</c:v>
                </c:pt>
                <c:pt idx="1171">
                  <c:v>41960</c:v>
                </c:pt>
                <c:pt idx="1172">
                  <c:v>41961</c:v>
                </c:pt>
                <c:pt idx="1173">
                  <c:v>41962</c:v>
                </c:pt>
                <c:pt idx="1174">
                  <c:v>41963</c:v>
                </c:pt>
                <c:pt idx="1175">
                  <c:v>41964</c:v>
                </c:pt>
                <c:pt idx="1176">
                  <c:v>41967</c:v>
                </c:pt>
                <c:pt idx="1177">
                  <c:v>41968</c:v>
                </c:pt>
                <c:pt idx="1178">
                  <c:v>41969</c:v>
                </c:pt>
                <c:pt idx="1179">
                  <c:v>41970</c:v>
                </c:pt>
                <c:pt idx="1180">
                  <c:v>41971</c:v>
                </c:pt>
                <c:pt idx="1181">
                  <c:v>41974</c:v>
                </c:pt>
                <c:pt idx="1182">
                  <c:v>41975</c:v>
                </c:pt>
                <c:pt idx="1183">
                  <c:v>41976</c:v>
                </c:pt>
                <c:pt idx="1184">
                  <c:v>41977</c:v>
                </c:pt>
                <c:pt idx="1185">
                  <c:v>41978</c:v>
                </c:pt>
                <c:pt idx="1186">
                  <c:v>41981</c:v>
                </c:pt>
                <c:pt idx="1187">
                  <c:v>41982</c:v>
                </c:pt>
                <c:pt idx="1188">
                  <c:v>41983</c:v>
                </c:pt>
                <c:pt idx="1189">
                  <c:v>41984</c:v>
                </c:pt>
                <c:pt idx="1190">
                  <c:v>41985</c:v>
                </c:pt>
                <c:pt idx="1191">
                  <c:v>41988</c:v>
                </c:pt>
                <c:pt idx="1192">
                  <c:v>41989</c:v>
                </c:pt>
                <c:pt idx="1193">
                  <c:v>41990</c:v>
                </c:pt>
                <c:pt idx="1194">
                  <c:v>41991</c:v>
                </c:pt>
                <c:pt idx="1195">
                  <c:v>41992</c:v>
                </c:pt>
                <c:pt idx="1196">
                  <c:v>41995</c:v>
                </c:pt>
                <c:pt idx="1197">
                  <c:v>41996</c:v>
                </c:pt>
                <c:pt idx="1198">
                  <c:v>41997</c:v>
                </c:pt>
                <c:pt idx="1199">
                  <c:v>42002</c:v>
                </c:pt>
                <c:pt idx="1200">
                  <c:v>42003</c:v>
                </c:pt>
                <c:pt idx="1201">
                  <c:v>42004</c:v>
                </c:pt>
                <c:pt idx="1202">
                  <c:v>42006</c:v>
                </c:pt>
                <c:pt idx="1203">
                  <c:v>42009</c:v>
                </c:pt>
                <c:pt idx="1204">
                  <c:v>42010</c:v>
                </c:pt>
                <c:pt idx="1205">
                  <c:v>42011</c:v>
                </c:pt>
                <c:pt idx="1206">
                  <c:v>42012</c:v>
                </c:pt>
                <c:pt idx="1207">
                  <c:v>42013</c:v>
                </c:pt>
                <c:pt idx="1208">
                  <c:v>42016</c:v>
                </c:pt>
                <c:pt idx="1209">
                  <c:v>42017</c:v>
                </c:pt>
                <c:pt idx="1210">
                  <c:v>42018</c:v>
                </c:pt>
                <c:pt idx="1211">
                  <c:v>42019</c:v>
                </c:pt>
                <c:pt idx="1212">
                  <c:v>42020</c:v>
                </c:pt>
                <c:pt idx="1213">
                  <c:v>42023</c:v>
                </c:pt>
                <c:pt idx="1214">
                  <c:v>42024</c:v>
                </c:pt>
                <c:pt idx="1215">
                  <c:v>42025</c:v>
                </c:pt>
                <c:pt idx="1216">
                  <c:v>42026</c:v>
                </c:pt>
                <c:pt idx="1217">
                  <c:v>42027</c:v>
                </c:pt>
                <c:pt idx="1218">
                  <c:v>42030</c:v>
                </c:pt>
                <c:pt idx="1219">
                  <c:v>42031</c:v>
                </c:pt>
                <c:pt idx="1220">
                  <c:v>42032</c:v>
                </c:pt>
                <c:pt idx="1221">
                  <c:v>42033</c:v>
                </c:pt>
                <c:pt idx="1222">
                  <c:v>42034</c:v>
                </c:pt>
                <c:pt idx="1223">
                  <c:v>42037</c:v>
                </c:pt>
                <c:pt idx="1224">
                  <c:v>42038</c:v>
                </c:pt>
                <c:pt idx="1225">
                  <c:v>42039</c:v>
                </c:pt>
                <c:pt idx="1226">
                  <c:v>42040</c:v>
                </c:pt>
                <c:pt idx="1227">
                  <c:v>42041</c:v>
                </c:pt>
                <c:pt idx="1228">
                  <c:v>42044</c:v>
                </c:pt>
                <c:pt idx="1229">
                  <c:v>42045</c:v>
                </c:pt>
                <c:pt idx="1230">
                  <c:v>42046</c:v>
                </c:pt>
                <c:pt idx="1231">
                  <c:v>42047</c:v>
                </c:pt>
                <c:pt idx="1232">
                  <c:v>42048</c:v>
                </c:pt>
                <c:pt idx="1233">
                  <c:v>42051</c:v>
                </c:pt>
                <c:pt idx="1234">
                  <c:v>42052</c:v>
                </c:pt>
                <c:pt idx="1235">
                  <c:v>42053</c:v>
                </c:pt>
                <c:pt idx="1236">
                  <c:v>42054</c:v>
                </c:pt>
                <c:pt idx="1237">
                  <c:v>42055</c:v>
                </c:pt>
                <c:pt idx="1238">
                  <c:v>42058</c:v>
                </c:pt>
                <c:pt idx="1239">
                  <c:v>42059</c:v>
                </c:pt>
                <c:pt idx="1240">
                  <c:v>42060</c:v>
                </c:pt>
                <c:pt idx="1241">
                  <c:v>42061</c:v>
                </c:pt>
                <c:pt idx="1242">
                  <c:v>42062</c:v>
                </c:pt>
                <c:pt idx="1243">
                  <c:v>42065</c:v>
                </c:pt>
                <c:pt idx="1244">
                  <c:v>42066</c:v>
                </c:pt>
                <c:pt idx="1245">
                  <c:v>42067</c:v>
                </c:pt>
                <c:pt idx="1246">
                  <c:v>42068</c:v>
                </c:pt>
                <c:pt idx="1247">
                  <c:v>42069</c:v>
                </c:pt>
                <c:pt idx="1248">
                  <c:v>42072</c:v>
                </c:pt>
                <c:pt idx="1249">
                  <c:v>42073</c:v>
                </c:pt>
                <c:pt idx="1250">
                  <c:v>42074</c:v>
                </c:pt>
                <c:pt idx="1251">
                  <c:v>42075</c:v>
                </c:pt>
                <c:pt idx="1252">
                  <c:v>42076</c:v>
                </c:pt>
                <c:pt idx="1253">
                  <c:v>42079</c:v>
                </c:pt>
                <c:pt idx="1254">
                  <c:v>42080</c:v>
                </c:pt>
                <c:pt idx="1255">
                  <c:v>42081</c:v>
                </c:pt>
                <c:pt idx="1256">
                  <c:v>42082</c:v>
                </c:pt>
                <c:pt idx="1257">
                  <c:v>42083</c:v>
                </c:pt>
                <c:pt idx="1258">
                  <c:v>42086</c:v>
                </c:pt>
                <c:pt idx="1259">
                  <c:v>42087</c:v>
                </c:pt>
                <c:pt idx="1260">
                  <c:v>42088</c:v>
                </c:pt>
                <c:pt idx="1261">
                  <c:v>42089</c:v>
                </c:pt>
                <c:pt idx="1262">
                  <c:v>42090</c:v>
                </c:pt>
                <c:pt idx="1263">
                  <c:v>42093</c:v>
                </c:pt>
                <c:pt idx="1264">
                  <c:v>42094</c:v>
                </c:pt>
                <c:pt idx="1265">
                  <c:v>42095</c:v>
                </c:pt>
                <c:pt idx="1266">
                  <c:v>42096</c:v>
                </c:pt>
                <c:pt idx="1267">
                  <c:v>42101</c:v>
                </c:pt>
                <c:pt idx="1268">
                  <c:v>42102</c:v>
                </c:pt>
                <c:pt idx="1269">
                  <c:v>42103</c:v>
                </c:pt>
                <c:pt idx="1270">
                  <c:v>42104</c:v>
                </c:pt>
                <c:pt idx="1271">
                  <c:v>42107</c:v>
                </c:pt>
                <c:pt idx="1272">
                  <c:v>42108</c:v>
                </c:pt>
                <c:pt idx="1273">
                  <c:v>42109</c:v>
                </c:pt>
                <c:pt idx="1274">
                  <c:v>42110</c:v>
                </c:pt>
                <c:pt idx="1275">
                  <c:v>42111</c:v>
                </c:pt>
                <c:pt idx="1276">
                  <c:v>42114</c:v>
                </c:pt>
                <c:pt idx="1277">
                  <c:v>42115</c:v>
                </c:pt>
                <c:pt idx="1278">
                  <c:v>42116</c:v>
                </c:pt>
                <c:pt idx="1279">
                  <c:v>42117</c:v>
                </c:pt>
                <c:pt idx="1280">
                  <c:v>42118</c:v>
                </c:pt>
                <c:pt idx="1281">
                  <c:v>42121</c:v>
                </c:pt>
                <c:pt idx="1282">
                  <c:v>42122</c:v>
                </c:pt>
                <c:pt idx="1283">
                  <c:v>42123</c:v>
                </c:pt>
                <c:pt idx="1284">
                  <c:v>42124</c:v>
                </c:pt>
                <c:pt idx="1285">
                  <c:v>42125</c:v>
                </c:pt>
                <c:pt idx="1286">
                  <c:v>42128</c:v>
                </c:pt>
                <c:pt idx="1287">
                  <c:v>42129</c:v>
                </c:pt>
                <c:pt idx="1288">
                  <c:v>42130</c:v>
                </c:pt>
                <c:pt idx="1289">
                  <c:v>42131</c:v>
                </c:pt>
                <c:pt idx="1290">
                  <c:v>42132</c:v>
                </c:pt>
                <c:pt idx="1291">
                  <c:v>42135</c:v>
                </c:pt>
                <c:pt idx="1292">
                  <c:v>42136</c:v>
                </c:pt>
                <c:pt idx="1293">
                  <c:v>42137</c:v>
                </c:pt>
                <c:pt idx="1294">
                  <c:v>42138</c:v>
                </c:pt>
                <c:pt idx="1295">
                  <c:v>42139</c:v>
                </c:pt>
                <c:pt idx="1296">
                  <c:v>42142</c:v>
                </c:pt>
                <c:pt idx="1297">
                  <c:v>42143</c:v>
                </c:pt>
                <c:pt idx="1298">
                  <c:v>42144</c:v>
                </c:pt>
                <c:pt idx="1299">
                  <c:v>42145</c:v>
                </c:pt>
                <c:pt idx="1300">
                  <c:v>42146</c:v>
                </c:pt>
                <c:pt idx="1301">
                  <c:v>42149</c:v>
                </c:pt>
                <c:pt idx="1302">
                  <c:v>42150</c:v>
                </c:pt>
                <c:pt idx="1303">
                  <c:v>42151</c:v>
                </c:pt>
                <c:pt idx="1304">
                  <c:v>42152</c:v>
                </c:pt>
              </c:numCache>
            </c:numRef>
          </c:cat>
          <c:val>
            <c:numRef>
              <c:f>Sheet0!$B$2:$B$1306</c:f>
              <c:numCache>
                <c:formatCode>General</c:formatCode>
                <c:ptCount val="1305"/>
                <c:pt idx="0">
                  <c:v>110.14</c:v>
                </c:pt>
                <c:pt idx="1">
                  <c:v>110.47</c:v>
                </c:pt>
                <c:pt idx="2">
                  <c:v>105.89</c:v>
                </c:pt>
                <c:pt idx="3">
                  <c:v>104.62</c:v>
                </c:pt>
                <c:pt idx="4">
                  <c:v>102.32</c:v>
                </c:pt>
                <c:pt idx="5">
                  <c:v>98.35</c:v>
                </c:pt>
                <c:pt idx="6">
                  <c:v>108.08</c:v>
                </c:pt>
                <c:pt idx="7">
                  <c:v>107.07</c:v>
                </c:pt>
                <c:pt idx="8">
                  <c:v>108.91</c:v>
                </c:pt>
                <c:pt idx="9">
                  <c:v>109.16</c:v>
                </c:pt>
                <c:pt idx="10">
                  <c:v>104.48</c:v>
                </c:pt>
                <c:pt idx="11">
                  <c:v>104</c:v>
                </c:pt>
                <c:pt idx="12">
                  <c:v>105.88</c:v>
                </c:pt>
                <c:pt idx="13">
                  <c:v>101.78</c:v>
                </c:pt>
                <c:pt idx="14">
                  <c:v>99.11</c:v>
                </c:pt>
                <c:pt idx="15">
                  <c:v>99.69</c:v>
                </c:pt>
                <c:pt idx="16">
                  <c:v>100.02</c:v>
                </c:pt>
                <c:pt idx="17">
                  <c:v>96.59</c:v>
                </c:pt>
                <c:pt idx="18">
                  <c:v>99.51</c:v>
                </c:pt>
                <c:pt idx="19">
                  <c:v>103.02</c:v>
                </c:pt>
                <c:pt idx="20">
                  <c:v>102.43</c:v>
                </c:pt>
                <c:pt idx="21">
                  <c:v>102.9</c:v>
                </c:pt>
                <c:pt idx="22">
                  <c:v>102.93</c:v>
                </c:pt>
                <c:pt idx="23">
                  <c:v>102.41</c:v>
                </c:pt>
                <c:pt idx="24">
                  <c:v>103.84</c:v>
                </c:pt>
                <c:pt idx="25">
                  <c:v>101.14</c:v>
                </c:pt>
                <c:pt idx="26">
                  <c:v>100.12</c:v>
                </c:pt>
                <c:pt idx="27">
                  <c:v>99.13</c:v>
                </c:pt>
                <c:pt idx="28">
                  <c:v>101.59</c:v>
                </c:pt>
                <c:pt idx="29">
                  <c:v>104.01</c:v>
                </c:pt>
                <c:pt idx="30">
                  <c:v>104.61</c:v>
                </c:pt>
                <c:pt idx="31">
                  <c:v>106.82</c:v>
                </c:pt>
                <c:pt idx="32">
                  <c:v>108.01</c:v>
                </c:pt>
                <c:pt idx="33">
                  <c:v>107.92</c:v>
                </c:pt>
                <c:pt idx="34">
                  <c:v>108.06</c:v>
                </c:pt>
                <c:pt idx="35">
                  <c:v>108.91</c:v>
                </c:pt>
                <c:pt idx="36">
                  <c:v>110.57</c:v>
                </c:pt>
                <c:pt idx="37">
                  <c:v>109.68</c:v>
                </c:pt>
                <c:pt idx="38">
                  <c:v>108.37</c:v>
                </c:pt>
                <c:pt idx="39">
                  <c:v>105.65</c:v>
                </c:pt>
                <c:pt idx="40">
                  <c:v>105.08</c:v>
                </c:pt>
                <c:pt idx="41">
                  <c:v>106.63</c:v>
                </c:pt>
                <c:pt idx="42">
                  <c:v>102.25</c:v>
                </c:pt>
                <c:pt idx="43">
                  <c:v>102.02</c:v>
                </c:pt>
                <c:pt idx="44">
                  <c:v>99.19</c:v>
                </c:pt>
                <c:pt idx="45">
                  <c:v>99.62</c:v>
                </c:pt>
                <c:pt idx="46">
                  <c:v>98.96</c:v>
                </c:pt>
                <c:pt idx="47">
                  <c:v>102.22</c:v>
                </c:pt>
                <c:pt idx="48">
                  <c:v>104.08</c:v>
                </c:pt>
                <c:pt idx="49">
                  <c:v>105.51</c:v>
                </c:pt>
                <c:pt idx="50">
                  <c:v>106.34</c:v>
                </c:pt>
                <c:pt idx="51">
                  <c:v>106.5</c:v>
                </c:pt>
                <c:pt idx="52">
                  <c:v>108.84</c:v>
                </c:pt>
                <c:pt idx="53">
                  <c:v>108.75</c:v>
                </c:pt>
                <c:pt idx="54">
                  <c:v>106.72</c:v>
                </c:pt>
                <c:pt idx="55">
                  <c:v>104.41</c:v>
                </c:pt>
                <c:pt idx="56">
                  <c:v>103.68</c:v>
                </c:pt>
                <c:pt idx="57">
                  <c:v>103.98</c:v>
                </c:pt>
                <c:pt idx="58">
                  <c:v>105.54</c:v>
                </c:pt>
                <c:pt idx="59">
                  <c:v>108.45</c:v>
                </c:pt>
                <c:pt idx="60">
                  <c:v>109.21</c:v>
                </c:pt>
                <c:pt idx="61">
                  <c:v>110.15</c:v>
                </c:pt>
                <c:pt idx="62">
                  <c:v>111.82</c:v>
                </c:pt>
                <c:pt idx="63">
                  <c:v>111.46</c:v>
                </c:pt>
                <c:pt idx="64">
                  <c:v>110.85</c:v>
                </c:pt>
                <c:pt idx="65">
                  <c:v>110.36</c:v>
                </c:pt>
                <c:pt idx="66">
                  <c:v>114.08</c:v>
                </c:pt>
                <c:pt idx="67">
                  <c:v>113.85</c:v>
                </c:pt>
                <c:pt idx="68">
                  <c:v>113.69</c:v>
                </c:pt>
                <c:pt idx="69">
                  <c:v>113.68</c:v>
                </c:pt>
                <c:pt idx="70">
                  <c:v>112.43</c:v>
                </c:pt>
                <c:pt idx="71">
                  <c:v>113.94</c:v>
                </c:pt>
                <c:pt idx="72">
                  <c:v>112.36</c:v>
                </c:pt>
                <c:pt idx="73">
                  <c:v>109.04</c:v>
                </c:pt>
                <c:pt idx="74">
                  <c:v>108.61</c:v>
                </c:pt>
                <c:pt idx="75">
                  <c:v>108.69</c:v>
                </c:pt>
                <c:pt idx="76">
                  <c:v>108.68</c:v>
                </c:pt>
                <c:pt idx="77">
                  <c:v>110.58</c:v>
                </c:pt>
                <c:pt idx="78">
                  <c:v>110.06</c:v>
                </c:pt>
                <c:pt idx="79">
                  <c:v>108.15</c:v>
                </c:pt>
                <c:pt idx="80">
                  <c:v>106.93</c:v>
                </c:pt>
                <c:pt idx="81">
                  <c:v>107.63</c:v>
                </c:pt>
                <c:pt idx="82">
                  <c:v>105.23</c:v>
                </c:pt>
                <c:pt idx="83">
                  <c:v>103.93</c:v>
                </c:pt>
                <c:pt idx="84">
                  <c:v>105.26</c:v>
                </c:pt>
                <c:pt idx="85">
                  <c:v>105.75</c:v>
                </c:pt>
                <c:pt idx="86">
                  <c:v>105.48</c:v>
                </c:pt>
                <c:pt idx="87">
                  <c:v>105.71</c:v>
                </c:pt>
                <c:pt idx="88">
                  <c:v>109.5</c:v>
                </c:pt>
                <c:pt idx="89">
                  <c:v>109.56</c:v>
                </c:pt>
                <c:pt idx="90">
                  <c:v>110.82</c:v>
                </c:pt>
                <c:pt idx="91">
                  <c:v>110.93</c:v>
                </c:pt>
                <c:pt idx="92">
                  <c:v>109.95</c:v>
                </c:pt>
                <c:pt idx="93">
                  <c:v>111.03</c:v>
                </c:pt>
                <c:pt idx="94">
                  <c:v>112.73</c:v>
                </c:pt>
                <c:pt idx="95">
                  <c:v>112.55</c:v>
                </c:pt>
                <c:pt idx="96">
                  <c:v>113.98</c:v>
                </c:pt>
                <c:pt idx="97">
                  <c:v>114.04</c:v>
                </c:pt>
                <c:pt idx="98">
                  <c:v>113.56</c:v>
                </c:pt>
                <c:pt idx="99">
                  <c:v>112.68</c:v>
                </c:pt>
                <c:pt idx="100">
                  <c:v>112.3</c:v>
                </c:pt>
                <c:pt idx="101">
                  <c:v>113.84</c:v>
                </c:pt>
                <c:pt idx="102">
                  <c:v>113.33</c:v>
                </c:pt>
                <c:pt idx="103">
                  <c:v>111.77</c:v>
                </c:pt>
                <c:pt idx="104">
                  <c:v>111.29</c:v>
                </c:pt>
                <c:pt idx="105">
                  <c:v>113.11</c:v>
                </c:pt>
                <c:pt idx="106">
                  <c:v>112.56</c:v>
                </c:pt>
                <c:pt idx="107">
                  <c:v>112.39</c:v>
                </c:pt>
                <c:pt idx="108">
                  <c:v>111.69</c:v>
                </c:pt>
                <c:pt idx="109">
                  <c:v>111.02</c:v>
                </c:pt>
                <c:pt idx="110">
                  <c:v>110.72</c:v>
                </c:pt>
                <c:pt idx="111">
                  <c:v>109.96</c:v>
                </c:pt>
                <c:pt idx="112">
                  <c:v>112.04</c:v>
                </c:pt>
                <c:pt idx="113">
                  <c:v>113.02</c:v>
                </c:pt>
                <c:pt idx="114">
                  <c:v>112.52</c:v>
                </c:pt>
                <c:pt idx="115">
                  <c:v>112.6</c:v>
                </c:pt>
                <c:pt idx="116">
                  <c:v>112.99</c:v>
                </c:pt>
                <c:pt idx="117">
                  <c:v>112.52</c:v>
                </c:pt>
                <c:pt idx="118">
                  <c:v>114.79</c:v>
                </c:pt>
                <c:pt idx="119">
                  <c:v>114.57</c:v>
                </c:pt>
                <c:pt idx="120">
                  <c:v>114.48</c:v>
                </c:pt>
                <c:pt idx="121">
                  <c:v>114.83</c:v>
                </c:pt>
                <c:pt idx="122">
                  <c:v>114.23</c:v>
                </c:pt>
                <c:pt idx="123">
                  <c:v>114.88</c:v>
                </c:pt>
                <c:pt idx="124">
                  <c:v>115.63</c:v>
                </c:pt>
                <c:pt idx="125">
                  <c:v>115.25</c:v>
                </c:pt>
                <c:pt idx="126">
                  <c:v>115.41</c:v>
                </c:pt>
                <c:pt idx="127">
                  <c:v>114.8</c:v>
                </c:pt>
                <c:pt idx="128">
                  <c:v>113.9</c:v>
                </c:pt>
                <c:pt idx="129">
                  <c:v>113.99</c:v>
                </c:pt>
                <c:pt idx="130">
                  <c:v>113.55</c:v>
                </c:pt>
                <c:pt idx="131">
                  <c:v>113.68</c:v>
                </c:pt>
                <c:pt idx="132">
                  <c:v>114.21</c:v>
                </c:pt>
                <c:pt idx="133">
                  <c:v>113.64</c:v>
                </c:pt>
                <c:pt idx="134">
                  <c:v>116.32</c:v>
                </c:pt>
                <c:pt idx="135">
                  <c:v>116.78</c:v>
                </c:pt>
                <c:pt idx="136">
                  <c:v>116.85</c:v>
                </c:pt>
                <c:pt idx="137">
                  <c:v>118.01</c:v>
                </c:pt>
                <c:pt idx="138">
                  <c:v>116.43</c:v>
                </c:pt>
                <c:pt idx="139">
                  <c:v>116.26</c:v>
                </c:pt>
                <c:pt idx="140">
                  <c:v>115.71</c:v>
                </c:pt>
                <c:pt idx="141">
                  <c:v>116.79</c:v>
                </c:pt>
                <c:pt idx="142">
                  <c:v>113.27</c:v>
                </c:pt>
                <c:pt idx="143">
                  <c:v>114.1</c:v>
                </c:pt>
                <c:pt idx="144">
                  <c:v>116.01</c:v>
                </c:pt>
                <c:pt idx="145">
                  <c:v>115.23</c:v>
                </c:pt>
                <c:pt idx="146">
                  <c:v>114</c:v>
                </c:pt>
                <c:pt idx="147">
                  <c:v>111.9</c:v>
                </c:pt>
                <c:pt idx="148">
                  <c:v>113.21</c:v>
                </c:pt>
                <c:pt idx="149">
                  <c:v>114.03</c:v>
                </c:pt>
                <c:pt idx="150">
                  <c:v>112.97</c:v>
                </c:pt>
                <c:pt idx="151">
                  <c:v>110.97</c:v>
                </c:pt>
                <c:pt idx="152">
                  <c:v>110.73</c:v>
                </c:pt>
                <c:pt idx="153">
                  <c:v>113.98</c:v>
                </c:pt>
                <c:pt idx="154">
                  <c:v>116.65</c:v>
                </c:pt>
                <c:pt idx="155">
                  <c:v>116.65</c:v>
                </c:pt>
                <c:pt idx="156">
                  <c:v>116.69</c:v>
                </c:pt>
                <c:pt idx="157">
                  <c:v>117.78</c:v>
                </c:pt>
                <c:pt idx="158">
                  <c:v>118.22</c:v>
                </c:pt>
                <c:pt idx="159">
                  <c:v>118.83</c:v>
                </c:pt>
                <c:pt idx="160">
                  <c:v>118.8</c:v>
                </c:pt>
                <c:pt idx="161">
                  <c:v>119.39</c:v>
                </c:pt>
                <c:pt idx="162">
                  <c:v>119.48</c:v>
                </c:pt>
                <c:pt idx="163">
                  <c:v>118.84</c:v>
                </c:pt>
                <c:pt idx="164">
                  <c:v>119.16</c:v>
                </c:pt>
                <c:pt idx="165">
                  <c:v>118.71</c:v>
                </c:pt>
                <c:pt idx="166">
                  <c:v>119.63</c:v>
                </c:pt>
                <c:pt idx="167">
                  <c:v>121.29</c:v>
                </c:pt>
                <c:pt idx="168">
                  <c:v>121.33</c:v>
                </c:pt>
                <c:pt idx="169">
                  <c:v>121.13</c:v>
                </c:pt>
                <c:pt idx="170">
                  <c:v>120.95</c:v>
                </c:pt>
                <c:pt idx="171">
                  <c:v>120.05</c:v>
                </c:pt>
                <c:pt idx="172">
                  <c:v>120.26</c:v>
                </c:pt>
                <c:pt idx="173">
                  <c:v>120.83</c:v>
                </c:pt>
                <c:pt idx="174">
                  <c:v>119.46</c:v>
                </c:pt>
                <c:pt idx="175">
                  <c:v>119.01</c:v>
                </c:pt>
                <c:pt idx="176">
                  <c:v>120.28</c:v>
                </c:pt>
                <c:pt idx="177">
                  <c:v>121.06</c:v>
                </c:pt>
                <c:pt idx="178">
                  <c:v>120.85</c:v>
                </c:pt>
                <c:pt idx="179">
                  <c:v>121.05</c:v>
                </c:pt>
                <c:pt idx="180">
                  <c:v>120.62</c:v>
                </c:pt>
                <c:pt idx="181">
                  <c:v>119.1</c:v>
                </c:pt>
                <c:pt idx="182">
                  <c:v>121.29</c:v>
                </c:pt>
                <c:pt idx="183">
                  <c:v>124.22</c:v>
                </c:pt>
                <c:pt idx="184">
                  <c:v>124.07</c:v>
                </c:pt>
                <c:pt idx="185">
                  <c:v>124.11</c:v>
                </c:pt>
                <c:pt idx="186">
                  <c:v>123.83</c:v>
                </c:pt>
                <c:pt idx="187">
                  <c:v>125.13</c:v>
                </c:pt>
                <c:pt idx="188">
                  <c:v>123.1</c:v>
                </c:pt>
                <c:pt idx="189">
                  <c:v>121.79</c:v>
                </c:pt>
                <c:pt idx="190">
                  <c:v>123</c:v>
                </c:pt>
                <c:pt idx="191">
                  <c:v>122.95</c:v>
                </c:pt>
                <c:pt idx="192">
                  <c:v>122.01</c:v>
                </c:pt>
                <c:pt idx="193">
                  <c:v>123.43</c:v>
                </c:pt>
                <c:pt idx="194">
                  <c:v>124.38</c:v>
                </c:pt>
                <c:pt idx="195">
                  <c:v>123.25</c:v>
                </c:pt>
                <c:pt idx="196">
                  <c:v>122.95</c:v>
                </c:pt>
                <c:pt idx="197">
                  <c:v>124.96</c:v>
                </c:pt>
                <c:pt idx="198">
                  <c:v>125.17</c:v>
                </c:pt>
                <c:pt idx="199">
                  <c:v>125.15</c:v>
                </c:pt>
                <c:pt idx="200">
                  <c:v>125.89</c:v>
                </c:pt>
                <c:pt idx="201">
                  <c:v>127.43</c:v>
                </c:pt>
                <c:pt idx="202">
                  <c:v>127.47</c:v>
                </c:pt>
                <c:pt idx="203">
                  <c:v>127.05</c:v>
                </c:pt>
                <c:pt idx="204">
                  <c:v>126.3</c:v>
                </c:pt>
                <c:pt idx="205">
                  <c:v>127.03</c:v>
                </c:pt>
                <c:pt idx="206">
                  <c:v>127.63</c:v>
                </c:pt>
                <c:pt idx="207">
                  <c:v>127.68</c:v>
                </c:pt>
                <c:pt idx="208">
                  <c:v>128.79</c:v>
                </c:pt>
                <c:pt idx="209">
                  <c:v>128.78</c:v>
                </c:pt>
                <c:pt idx="210">
                  <c:v>128.59</c:v>
                </c:pt>
                <c:pt idx="211">
                  <c:v>126.21</c:v>
                </c:pt>
                <c:pt idx="212">
                  <c:v>125.39</c:v>
                </c:pt>
                <c:pt idx="213">
                  <c:v>123.65</c:v>
                </c:pt>
                <c:pt idx="214">
                  <c:v>123.01</c:v>
                </c:pt>
                <c:pt idx="215">
                  <c:v>124.91</c:v>
                </c:pt>
                <c:pt idx="216">
                  <c:v>126.34</c:v>
                </c:pt>
                <c:pt idx="217">
                  <c:v>125.21</c:v>
                </c:pt>
                <c:pt idx="218">
                  <c:v>124.44</c:v>
                </c:pt>
                <c:pt idx="219">
                  <c:v>125.05</c:v>
                </c:pt>
                <c:pt idx="220">
                  <c:v>124.22</c:v>
                </c:pt>
                <c:pt idx="221">
                  <c:v>123.5</c:v>
                </c:pt>
                <c:pt idx="222">
                  <c:v>123.86</c:v>
                </c:pt>
                <c:pt idx="223">
                  <c:v>123.59</c:v>
                </c:pt>
                <c:pt idx="224">
                  <c:v>121.53</c:v>
                </c:pt>
                <c:pt idx="225">
                  <c:v>120.4</c:v>
                </c:pt>
                <c:pt idx="226">
                  <c:v>119.55</c:v>
                </c:pt>
                <c:pt idx="227">
                  <c:v>116.79</c:v>
                </c:pt>
                <c:pt idx="228">
                  <c:v>114.56</c:v>
                </c:pt>
                <c:pt idx="229">
                  <c:v>117.07</c:v>
                </c:pt>
                <c:pt idx="230">
                  <c:v>117.68</c:v>
                </c:pt>
                <c:pt idx="231">
                  <c:v>120</c:v>
                </c:pt>
                <c:pt idx="232">
                  <c:v>119.61</c:v>
                </c:pt>
                <c:pt idx="233">
                  <c:v>120.24</c:v>
                </c:pt>
                <c:pt idx="234">
                  <c:v>121.71</c:v>
                </c:pt>
                <c:pt idx="235">
                  <c:v>121.72</c:v>
                </c:pt>
                <c:pt idx="236">
                  <c:v>122.05</c:v>
                </c:pt>
                <c:pt idx="237">
                  <c:v>122.09</c:v>
                </c:pt>
                <c:pt idx="238">
                  <c:v>122.9</c:v>
                </c:pt>
                <c:pt idx="239">
                  <c:v>121.57</c:v>
                </c:pt>
                <c:pt idx="240">
                  <c:v>123.78</c:v>
                </c:pt>
                <c:pt idx="241">
                  <c:v>123.81</c:v>
                </c:pt>
                <c:pt idx="242">
                  <c:v>123.79</c:v>
                </c:pt>
                <c:pt idx="243">
                  <c:v>124.6</c:v>
                </c:pt>
                <c:pt idx="244">
                  <c:v>124.34</c:v>
                </c:pt>
                <c:pt idx="245">
                  <c:v>125.11</c:v>
                </c:pt>
                <c:pt idx="246">
                  <c:v>124.85</c:v>
                </c:pt>
                <c:pt idx="247">
                  <c:v>122.2</c:v>
                </c:pt>
                <c:pt idx="248">
                  <c:v>123.06</c:v>
                </c:pt>
                <c:pt idx="249">
                  <c:v>122.05</c:v>
                </c:pt>
                <c:pt idx="250">
                  <c:v>122</c:v>
                </c:pt>
                <c:pt idx="251">
                  <c:v>119.44</c:v>
                </c:pt>
                <c:pt idx="252">
                  <c:v>119.99</c:v>
                </c:pt>
                <c:pt idx="253">
                  <c:v>122.37</c:v>
                </c:pt>
                <c:pt idx="254">
                  <c:v>123.72</c:v>
                </c:pt>
                <c:pt idx="255">
                  <c:v>124.15</c:v>
                </c:pt>
                <c:pt idx="256">
                  <c:v>124.51</c:v>
                </c:pt>
                <c:pt idx="257">
                  <c:v>125.06</c:v>
                </c:pt>
                <c:pt idx="258">
                  <c:v>125.55</c:v>
                </c:pt>
                <c:pt idx="259">
                  <c:v>125.55</c:v>
                </c:pt>
                <c:pt idx="260">
                  <c:v>124.72</c:v>
                </c:pt>
                <c:pt idx="261">
                  <c:v>122.56</c:v>
                </c:pt>
                <c:pt idx="262">
                  <c:v>121.84</c:v>
                </c:pt>
                <c:pt idx="263">
                  <c:v>123.71</c:v>
                </c:pt>
                <c:pt idx="264">
                  <c:v>123.01</c:v>
                </c:pt>
                <c:pt idx="265">
                  <c:v>124.61</c:v>
                </c:pt>
                <c:pt idx="266">
                  <c:v>124.59</c:v>
                </c:pt>
                <c:pt idx="267">
                  <c:v>123.36</c:v>
                </c:pt>
                <c:pt idx="268">
                  <c:v>122.55</c:v>
                </c:pt>
                <c:pt idx="269">
                  <c:v>122.61</c:v>
                </c:pt>
                <c:pt idx="270">
                  <c:v>120.97</c:v>
                </c:pt>
                <c:pt idx="271">
                  <c:v>121.41</c:v>
                </c:pt>
                <c:pt idx="272">
                  <c:v>122.22</c:v>
                </c:pt>
                <c:pt idx="273">
                  <c:v>121.73</c:v>
                </c:pt>
                <c:pt idx="274">
                  <c:v>119.29</c:v>
                </c:pt>
                <c:pt idx="275">
                  <c:v>119.62</c:v>
                </c:pt>
                <c:pt idx="276">
                  <c:v>120.79</c:v>
                </c:pt>
                <c:pt idx="277">
                  <c:v>120.66</c:v>
                </c:pt>
                <c:pt idx="278">
                  <c:v>121.89</c:v>
                </c:pt>
                <c:pt idx="279">
                  <c:v>121.75</c:v>
                </c:pt>
                <c:pt idx="280">
                  <c:v>122.99</c:v>
                </c:pt>
                <c:pt idx="281">
                  <c:v>121.79</c:v>
                </c:pt>
                <c:pt idx="282">
                  <c:v>120.01</c:v>
                </c:pt>
                <c:pt idx="283">
                  <c:v>119.71</c:v>
                </c:pt>
                <c:pt idx="284">
                  <c:v>118.87</c:v>
                </c:pt>
                <c:pt idx="285">
                  <c:v>118.81</c:v>
                </c:pt>
                <c:pt idx="286">
                  <c:v>117.12</c:v>
                </c:pt>
                <c:pt idx="287">
                  <c:v>118.43</c:v>
                </c:pt>
                <c:pt idx="288">
                  <c:v>116.71</c:v>
                </c:pt>
                <c:pt idx="289">
                  <c:v>116.82</c:v>
                </c:pt>
                <c:pt idx="290">
                  <c:v>118.22</c:v>
                </c:pt>
                <c:pt idx="291">
                  <c:v>116.56</c:v>
                </c:pt>
                <c:pt idx="292">
                  <c:v>115.87</c:v>
                </c:pt>
                <c:pt idx="293">
                  <c:v>116.42</c:v>
                </c:pt>
                <c:pt idx="294">
                  <c:v>115.39</c:v>
                </c:pt>
                <c:pt idx="295">
                  <c:v>117.82</c:v>
                </c:pt>
                <c:pt idx="296">
                  <c:v>116.97</c:v>
                </c:pt>
                <c:pt idx="297">
                  <c:v>114.39</c:v>
                </c:pt>
                <c:pt idx="298">
                  <c:v>113.83</c:v>
                </c:pt>
                <c:pt idx="299">
                  <c:v>113.73</c:v>
                </c:pt>
                <c:pt idx="300">
                  <c:v>114.64</c:v>
                </c:pt>
                <c:pt idx="301">
                  <c:v>117.3</c:v>
                </c:pt>
                <c:pt idx="302">
                  <c:v>119.07</c:v>
                </c:pt>
                <c:pt idx="303">
                  <c:v>120.56</c:v>
                </c:pt>
                <c:pt idx="304">
                  <c:v>120.61</c:v>
                </c:pt>
                <c:pt idx="305">
                  <c:v>120.26</c:v>
                </c:pt>
                <c:pt idx="306">
                  <c:v>119.55</c:v>
                </c:pt>
                <c:pt idx="307">
                  <c:v>120.16</c:v>
                </c:pt>
                <c:pt idx="308">
                  <c:v>118.39</c:v>
                </c:pt>
                <c:pt idx="309">
                  <c:v>115.72</c:v>
                </c:pt>
                <c:pt idx="310">
                  <c:v>114.85</c:v>
                </c:pt>
                <c:pt idx="311">
                  <c:v>116.04</c:v>
                </c:pt>
                <c:pt idx="312">
                  <c:v>114.72</c:v>
                </c:pt>
                <c:pt idx="313">
                  <c:v>113.77</c:v>
                </c:pt>
                <c:pt idx="314">
                  <c:v>110.9</c:v>
                </c:pt>
                <c:pt idx="315">
                  <c:v>112.44</c:v>
                </c:pt>
                <c:pt idx="316">
                  <c:v>114.51</c:v>
                </c:pt>
                <c:pt idx="317">
                  <c:v>116.38</c:v>
                </c:pt>
                <c:pt idx="318">
                  <c:v>116.7</c:v>
                </c:pt>
                <c:pt idx="319">
                  <c:v>115.67</c:v>
                </c:pt>
                <c:pt idx="320">
                  <c:v>115.21</c:v>
                </c:pt>
                <c:pt idx="321">
                  <c:v>113.48</c:v>
                </c:pt>
                <c:pt idx="322">
                  <c:v>113.16</c:v>
                </c:pt>
                <c:pt idx="323">
                  <c:v>112.33</c:v>
                </c:pt>
                <c:pt idx="324">
                  <c:v>110.25</c:v>
                </c:pt>
                <c:pt idx="325">
                  <c:v>107.27</c:v>
                </c:pt>
                <c:pt idx="326">
                  <c:v>104.61</c:v>
                </c:pt>
                <c:pt idx="327">
                  <c:v>99.64</c:v>
                </c:pt>
                <c:pt idx="328">
                  <c:v>98.08</c:v>
                </c:pt>
                <c:pt idx="329">
                  <c:v>93.08</c:v>
                </c:pt>
                <c:pt idx="330">
                  <c:v>95.08</c:v>
                </c:pt>
                <c:pt idx="331">
                  <c:v>90.6</c:v>
                </c:pt>
                <c:pt idx="332">
                  <c:v>93.71</c:v>
                </c:pt>
                <c:pt idx="333">
                  <c:v>97.34</c:v>
                </c:pt>
                <c:pt idx="334">
                  <c:v>97.73</c:v>
                </c:pt>
                <c:pt idx="335">
                  <c:v>97.33</c:v>
                </c:pt>
                <c:pt idx="336">
                  <c:v>97.09</c:v>
                </c:pt>
                <c:pt idx="337">
                  <c:v>90.91</c:v>
                </c:pt>
                <c:pt idx="338">
                  <c:v>89.41</c:v>
                </c:pt>
                <c:pt idx="339">
                  <c:v>89.51</c:v>
                </c:pt>
                <c:pt idx="340">
                  <c:v>90.04</c:v>
                </c:pt>
                <c:pt idx="341">
                  <c:v>91.96</c:v>
                </c:pt>
                <c:pt idx="342">
                  <c:v>91.4</c:v>
                </c:pt>
                <c:pt idx="343">
                  <c:v>90.53</c:v>
                </c:pt>
                <c:pt idx="344">
                  <c:v>92.14</c:v>
                </c:pt>
                <c:pt idx="345">
                  <c:v>93.5</c:v>
                </c:pt>
                <c:pt idx="346">
                  <c:v>96.92</c:v>
                </c:pt>
                <c:pt idx="347">
                  <c:v>97.18</c:v>
                </c:pt>
                <c:pt idx="348">
                  <c:v>93.86</c:v>
                </c:pt>
                <c:pt idx="349">
                  <c:v>89.07</c:v>
                </c:pt>
                <c:pt idx="350">
                  <c:v>88.02</c:v>
                </c:pt>
                <c:pt idx="351">
                  <c:v>91.54</c:v>
                </c:pt>
                <c:pt idx="352">
                  <c:v>92.32</c:v>
                </c:pt>
                <c:pt idx="353">
                  <c:v>88.81</c:v>
                </c:pt>
                <c:pt idx="354">
                  <c:v>86.01</c:v>
                </c:pt>
                <c:pt idx="355">
                  <c:v>87.25</c:v>
                </c:pt>
                <c:pt idx="356">
                  <c:v>88.52</c:v>
                </c:pt>
                <c:pt idx="357">
                  <c:v>91.2</c:v>
                </c:pt>
                <c:pt idx="358">
                  <c:v>91.59</c:v>
                </c:pt>
                <c:pt idx="359">
                  <c:v>88.71</c:v>
                </c:pt>
                <c:pt idx="360">
                  <c:v>90.14</c:v>
                </c:pt>
                <c:pt idx="361">
                  <c:v>88.48</c:v>
                </c:pt>
                <c:pt idx="362">
                  <c:v>83.3</c:v>
                </c:pt>
                <c:pt idx="363">
                  <c:v>83.91</c:v>
                </c:pt>
                <c:pt idx="364">
                  <c:v>85.94</c:v>
                </c:pt>
                <c:pt idx="365">
                  <c:v>91.1</c:v>
                </c:pt>
                <c:pt idx="366">
                  <c:v>89.43</c:v>
                </c:pt>
                <c:pt idx="367">
                  <c:v>90.64</c:v>
                </c:pt>
                <c:pt idx="368">
                  <c:v>88.57</c:v>
                </c:pt>
                <c:pt idx="369">
                  <c:v>86.75</c:v>
                </c:pt>
                <c:pt idx="370">
                  <c:v>83.49</c:v>
                </c:pt>
                <c:pt idx="371">
                  <c:v>87.3</c:v>
                </c:pt>
                <c:pt idx="372">
                  <c:v>90.92</c:v>
                </c:pt>
                <c:pt idx="373">
                  <c:v>91.39</c:v>
                </c:pt>
                <c:pt idx="374">
                  <c:v>93.81</c:v>
                </c:pt>
                <c:pt idx="375">
                  <c:v>93.71</c:v>
                </c:pt>
                <c:pt idx="376">
                  <c:v>96.25</c:v>
                </c:pt>
                <c:pt idx="377">
                  <c:v>94.15</c:v>
                </c:pt>
                <c:pt idx="378">
                  <c:v>94.98</c:v>
                </c:pt>
                <c:pt idx="379">
                  <c:v>93.58</c:v>
                </c:pt>
                <c:pt idx="380">
                  <c:v>93.19</c:v>
                </c:pt>
                <c:pt idx="381">
                  <c:v>93.82</c:v>
                </c:pt>
                <c:pt idx="382">
                  <c:v>91.3</c:v>
                </c:pt>
                <c:pt idx="383">
                  <c:v>94.29</c:v>
                </c:pt>
                <c:pt idx="384">
                  <c:v>96.61</c:v>
                </c:pt>
                <c:pt idx="385">
                  <c:v>95.83</c:v>
                </c:pt>
                <c:pt idx="386">
                  <c:v>95.64</c:v>
                </c:pt>
                <c:pt idx="387">
                  <c:v>101.62</c:v>
                </c:pt>
                <c:pt idx="388">
                  <c:v>101.3</c:v>
                </c:pt>
                <c:pt idx="389">
                  <c:v>97.58</c:v>
                </c:pt>
                <c:pt idx="390">
                  <c:v>92.51</c:v>
                </c:pt>
                <c:pt idx="391">
                  <c:v>93.9</c:v>
                </c:pt>
                <c:pt idx="392">
                  <c:v>96.46</c:v>
                </c:pt>
                <c:pt idx="393">
                  <c:v>95.15</c:v>
                </c:pt>
                <c:pt idx="394">
                  <c:v>94.35</c:v>
                </c:pt>
                <c:pt idx="395">
                  <c:v>95.38</c:v>
                </c:pt>
                <c:pt idx="396">
                  <c:v>92.92</c:v>
                </c:pt>
                <c:pt idx="397">
                  <c:v>92.43</c:v>
                </c:pt>
                <c:pt idx="398">
                  <c:v>95.41</c:v>
                </c:pt>
                <c:pt idx="399">
                  <c:v>93.92</c:v>
                </c:pt>
                <c:pt idx="400">
                  <c:v>92.83</c:v>
                </c:pt>
                <c:pt idx="401">
                  <c:v>92.87</c:v>
                </c:pt>
                <c:pt idx="402">
                  <c:v>91.08</c:v>
                </c:pt>
                <c:pt idx="403">
                  <c:v>90.2</c:v>
                </c:pt>
                <c:pt idx="404">
                  <c:v>86.68</c:v>
                </c:pt>
                <c:pt idx="405">
                  <c:v>85.61</c:v>
                </c:pt>
                <c:pt idx="406">
                  <c:v>84.14</c:v>
                </c:pt>
                <c:pt idx="407">
                  <c:v>84.62</c:v>
                </c:pt>
                <c:pt idx="408">
                  <c:v>85.15</c:v>
                </c:pt>
                <c:pt idx="409">
                  <c:v>89.38</c:v>
                </c:pt>
                <c:pt idx="410">
                  <c:v>90.19</c:v>
                </c:pt>
                <c:pt idx="411">
                  <c:v>94.44</c:v>
                </c:pt>
                <c:pt idx="412">
                  <c:v>93.44</c:v>
                </c:pt>
                <c:pt idx="413">
                  <c:v>95.32</c:v>
                </c:pt>
                <c:pt idx="414">
                  <c:v>96.69</c:v>
                </c:pt>
                <c:pt idx="415">
                  <c:v>96.16</c:v>
                </c:pt>
                <c:pt idx="416">
                  <c:v>95.63</c:v>
                </c:pt>
                <c:pt idx="417">
                  <c:v>93.02</c:v>
                </c:pt>
                <c:pt idx="418">
                  <c:v>94.71</c:v>
                </c:pt>
                <c:pt idx="419">
                  <c:v>91.72</c:v>
                </c:pt>
                <c:pt idx="420">
                  <c:v>91.84</c:v>
                </c:pt>
                <c:pt idx="421">
                  <c:v>89.32</c:v>
                </c:pt>
                <c:pt idx="422">
                  <c:v>90.26</c:v>
                </c:pt>
                <c:pt idx="423">
                  <c:v>90.25</c:v>
                </c:pt>
                <c:pt idx="424">
                  <c:v>89.89</c:v>
                </c:pt>
                <c:pt idx="425">
                  <c:v>92.8</c:v>
                </c:pt>
                <c:pt idx="426">
                  <c:v>92.1</c:v>
                </c:pt>
                <c:pt idx="427">
                  <c:v>93.42</c:v>
                </c:pt>
                <c:pt idx="428">
                  <c:v>94</c:v>
                </c:pt>
                <c:pt idx="429">
                  <c:v>93.96</c:v>
                </c:pt>
                <c:pt idx="430">
                  <c:v>92.73</c:v>
                </c:pt>
                <c:pt idx="431">
                  <c:v>93.77</c:v>
                </c:pt>
                <c:pt idx="432">
                  <c:v>94.81</c:v>
                </c:pt>
                <c:pt idx="433">
                  <c:v>96.14</c:v>
                </c:pt>
                <c:pt idx="434">
                  <c:v>98.28</c:v>
                </c:pt>
                <c:pt idx="435">
                  <c:v>97.43</c:v>
                </c:pt>
                <c:pt idx="436">
                  <c:v>96.15</c:v>
                </c:pt>
                <c:pt idx="437">
                  <c:v>95.89</c:v>
                </c:pt>
                <c:pt idx="438">
                  <c:v>95.08</c:v>
                </c:pt>
                <c:pt idx="439">
                  <c:v>97.77</c:v>
                </c:pt>
                <c:pt idx="440">
                  <c:v>98.04</c:v>
                </c:pt>
                <c:pt idx="441">
                  <c:v>98.79</c:v>
                </c:pt>
                <c:pt idx="442">
                  <c:v>98.96</c:v>
                </c:pt>
                <c:pt idx="443">
                  <c:v>99.74</c:v>
                </c:pt>
                <c:pt idx="444">
                  <c:v>100.97</c:v>
                </c:pt>
                <c:pt idx="445">
                  <c:v>101.31</c:v>
                </c:pt>
                <c:pt idx="446">
                  <c:v>103.98</c:v>
                </c:pt>
                <c:pt idx="447">
                  <c:v>103.84</c:v>
                </c:pt>
                <c:pt idx="448">
                  <c:v>105.01</c:v>
                </c:pt>
                <c:pt idx="449">
                  <c:v>104.03</c:v>
                </c:pt>
                <c:pt idx="450">
                  <c:v>103.68</c:v>
                </c:pt>
                <c:pt idx="451">
                  <c:v>105.52</c:v>
                </c:pt>
                <c:pt idx="452">
                  <c:v>104.54</c:v>
                </c:pt>
                <c:pt idx="453">
                  <c:v>102.46</c:v>
                </c:pt>
                <c:pt idx="454">
                  <c:v>103.28</c:v>
                </c:pt>
                <c:pt idx="455">
                  <c:v>106.17</c:v>
                </c:pt>
                <c:pt idx="456">
                  <c:v>107.16</c:v>
                </c:pt>
                <c:pt idx="457">
                  <c:v>109.28</c:v>
                </c:pt>
                <c:pt idx="458">
                  <c:v>108.75</c:v>
                </c:pt>
                <c:pt idx="459">
                  <c:v>108.37</c:v>
                </c:pt>
                <c:pt idx="460">
                  <c:v>108.42</c:v>
                </c:pt>
                <c:pt idx="461">
                  <c:v>108.62</c:v>
                </c:pt>
                <c:pt idx="462">
                  <c:v>106.94</c:v>
                </c:pt>
                <c:pt idx="463">
                  <c:v>107.65</c:v>
                </c:pt>
                <c:pt idx="464">
                  <c:v>106.99</c:v>
                </c:pt>
                <c:pt idx="465">
                  <c:v>107.93</c:v>
                </c:pt>
                <c:pt idx="466">
                  <c:v>107.83</c:v>
                </c:pt>
                <c:pt idx="467">
                  <c:v>109.12</c:v>
                </c:pt>
                <c:pt idx="468">
                  <c:v>110.86</c:v>
                </c:pt>
                <c:pt idx="469">
                  <c:v>110.01</c:v>
                </c:pt>
                <c:pt idx="470">
                  <c:v>108.74</c:v>
                </c:pt>
                <c:pt idx="471">
                  <c:v>108.43</c:v>
                </c:pt>
                <c:pt idx="472">
                  <c:v>109.2</c:v>
                </c:pt>
                <c:pt idx="473">
                  <c:v>108.55</c:v>
                </c:pt>
                <c:pt idx="474">
                  <c:v>108.99</c:v>
                </c:pt>
                <c:pt idx="475">
                  <c:v>108.95</c:v>
                </c:pt>
                <c:pt idx="476">
                  <c:v>110.18</c:v>
                </c:pt>
                <c:pt idx="477">
                  <c:v>110.35</c:v>
                </c:pt>
                <c:pt idx="478">
                  <c:v>108.79</c:v>
                </c:pt>
                <c:pt idx="479">
                  <c:v>104.7</c:v>
                </c:pt>
                <c:pt idx="480">
                  <c:v>105.79</c:v>
                </c:pt>
                <c:pt idx="481">
                  <c:v>108.21</c:v>
                </c:pt>
                <c:pt idx="482">
                  <c:v>108.59</c:v>
                </c:pt>
                <c:pt idx="483">
                  <c:v>107.98</c:v>
                </c:pt>
                <c:pt idx="484">
                  <c:v>110.35</c:v>
                </c:pt>
                <c:pt idx="485">
                  <c:v>110.94</c:v>
                </c:pt>
                <c:pt idx="486">
                  <c:v>111.93</c:v>
                </c:pt>
                <c:pt idx="487">
                  <c:v>112.9</c:v>
                </c:pt>
                <c:pt idx="488">
                  <c:v>112.83</c:v>
                </c:pt>
                <c:pt idx="489">
                  <c:v>110.85</c:v>
                </c:pt>
                <c:pt idx="490">
                  <c:v>110.4</c:v>
                </c:pt>
                <c:pt idx="491">
                  <c:v>108.45</c:v>
                </c:pt>
                <c:pt idx="492">
                  <c:v>108.86</c:v>
                </c:pt>
                <c:pt idx="493">
                  <c:v>109.82</c:v>
                </c:pt>
                <c:pt idx="494">
                  <c:v>109.56</c:v>
                </c:pt>
                <c:pt idx="495">
                  <c:v>107.99</c:v>
                </c:pt>
                <c:pt idx="496">
                  <c:v>106.28</c:v>
                </c:pt>
                <c:pt idx="497">
                  <c:v>107.69</c:v>
                </c:pt>
                <c:pt idx="498">
                  <c:v>109.04</c:v>
                </c:pt>
                <c:pt idx="499">
                  <c:v>107.48</c:v>
                </c:pt>
                <c:pt idx="500">
                  <c:v>104.49</c:v>
                </c:pt>
                <c:pt idx="501">
                  <c:v>104.76</c:v>
                </c:pt>
                <c:pt idx="502">
                  <c:v>101.21</c:v>
                </c:pt>
                <c:pt idx="503">
                  <c:v>102.4</c:v>
                </c:pt>
                <c:pt idx="504">
                  <c:v>104.17</c:v>
                </c:pt>
                <c:pt idx="505">
                  <c:v>101.92</c:v>
                </c:pt>
                <c:pt idx="506">
                  <c:v>101.72</c:v>
                </c:pt>
                <c:pt idx="507">
                  <c:v>104.67</c:v>
                </c:pt>
                <c:pt idx="508">
                  <c:v>103.49</c:v>
                </c:pt>
                <c:pt idx="509">
                  <c:v>102.83</c:v>
                </c:pt>
                <c:pt idx="510">
                  <c:v>103.6</c:v>
                </c:pt>
                <c:pt idx="511">
                  <c:v>100.22</c:v>
                </c:pt>
                <c:pt idx="512">
                  <c:v>101.65</c:v>
                </c:pt>
                <c:pt idx="513">
                  <c:v>103.6</c:v>
                </c:pt>
                <c:pt idx="514">
                  <c:v>103.34</c:v>
                </c:pt>
                <c:pt idx="515">
                  <c:v>104.72</c:v>
                </c:pt>
                <c:pt idx="516">
                  <c:v>103.58</c:v>
                </c:pt>
                <c:pt idx="517">
                  <c:v>104.14</c:v>
                </c:pt>
                <c:pt idx="518">
                  <c:v>103.33</c:v>
                </c:pt>
                <c:pt idx="519">
                  <c:v>102.9</c:v>
                </c:pt>
                <c:pt idx="520">
                  <c:v>100.73</c:v>
                </c:pt>
                <c:pt idx="521">
                  <c:v>101.73</c:v>
                </c:pt>
                <c:pt idx="522">
                  <c:v>99.47</c:v>
                </c:pt>
                <c:pt idx="523">
                  <c:v>99.04</c:v>
                </c:pt>
                <c:pt idx="524">
                  <c:v>100.35</c:v>
                </c:pt>
                <c:pt idx="525">
                  <c:v>100.24</c:v>
                </c:pt>
                <c:pt idx="526">
                  <c:v>97.69</c:v>
                </c:pt>
                <c:pt idx="527">
                  <c:v>96.49</c:v>
                </c:pt>
                <c:pt idx="528">
                  <c:v>96.05</c:v>
                </c:pt>
                <c:pt idx="529">
                  <c:v>94.59</c:v>
                </c:pt>
                <c:pt idx="530">
                  <c:v>93.45</c:v>
                </c:pt>
                <c:pt idx="531">
                  <c:v>94.54</c:v>
                </c:pt>
                <c:pt idx="532">
                  <c:v>97.02</c:v>
                </c:pt>
                <c:pt idx="533">
                  <c:v>94.29</c:v>
                </c:pt>
                <c:pt idx="534">
                  <c:v>95.31</c:v>
                </c:pt>
                <c:pt idx="535">
                  <c:v>95.21</c:v>
                </c:pt>
                <c:pt idx="536">
                  <c:v>95.41</c:v>
                </c:pt>
                <c:pt idx="537">
                  <c:v>96.49</c:v>
                </c:pt>
                <c:pt idx="538">
                  <c:v>94.63</c:v>
                </c:pt>
                <c:pt idx="539">
                  <c:v>93.92</c:v>
                </c:pt>
                <c:pt idx="540">
                  <c:v>91.93</c:v>
                </c:pt>
                <c:pt idx="541">
                  <c:v>91.58</c:v>
                </c:pt>
                <c:pt idx="542">
                  <c:v>92.09</c:v>
                </c:pt>
                <c:pt idx="543">
                  <c:v>95.01</c:v>
                </c:pt>
                <c:pt idx="544">
                  <c:v>96.59</c:v>
                </c:pt>
                <c:pt idx="545">
                  <c:v>95.7</c:v>
                </c:pt>
                <c:pt idx="546">
                  <c:v>95.61</c:v>
                </c:pt>
                <c:pt idx="547">
                  <c:v>95.88</c:v>
                </c:pt>
                <c:pt idx="548">
                  <c:v>95.11</c:v>
                </c:pt>
                <c:pt idx="549">
                  <c:v>94.76</c:v>
                </c:pt>
                <c:pt idx="550">
                  <c:v>96.49</c:v>
                </c:pt>
                <c:pt idx="551">
                  <c:v>96.15</c:v>
                </c:pt>
                <c:pt idx="552">
                  <c:v>98.14</c:v>
                </c:pt>
                <c:pt idx="553">
                  <c:v>99.2</c:v>
                </c:pt>
                <c:pt idx="554">
                  <c:v>98.36</c:v>
                </c:pt>
                <c:pt idx="555">
                  <c:v>97.18</c:v>
                </c:pt>
                <c:pt idx="556">
                  <c:v>94.88</c:v>
                </c:pt>
                <c:pt idx="557">
                  <c:v>94.34</c:v>
                </c:pt>
                <c:pt idx="558">
                  <c:v>95.83</c:v>
                </c:pt>
                <c:pt idx="559">
                  <c:v>94.91</c:v>
                </c:pt>
                <c:pt idx="560">
                  <c:v>98.89</c:v>
                </c:pt>
                <c:pt idx="561">
                  <c:v>100.39</c:v>
                </c:pt>
                <c:pt idx="562">
                  <c:v>101.68</c:v>
                </c:pt>
                <c:pt idx="563">
                  <c:v>101.59</c:v>
                </c:pt>
                <c:pt idx="564">
                  <c:v>101.03</c:v>
                </c:pt>
                <c:pt idx="565">
                  <c:v>99.16</c:v>
                </c:pt>
                <c:pt idx="566">
                  <c:v>98.65</c:v>
                </c:pt>
                <c:pt idx="567">
                  <c:v>99.65</c:v>
                </c:pt>
                <c:pt idx="568">
                  <c:v>99.57</c:v>
                </c:pt>
                <c:pt idx="569">
                  <c:v>98.33</c:v>
                </c:pt>
                <c:pt idx="570">
                  <c:v>99.75</c:v>
                </c:pt>
                <c:pt idx="571">
                  <c:v>99.8</c:v>
                </c:pt>
                <c:pt idx="572">
                  <c:v>99.39</c:v>
                </c:pt>
                <c:pt idx="573">
                  <c:v>100.62</c:v>
                </c:pt>
                <c:pt idx="574">
                  <c:v>102.12</c:v>
                </c:pt>
                <c:pt idx="575">
                  <c:v>100.23</c:v>
                </c:pt>
                <c:pt idx="576">
                  <c:v>97.25</c:v>
                </c:pt>
                <c:pt idx="577">
                  <c:v>96.91</c:v>
                </c:pt>
                <c:pt idx="578">
                  <c:v>97.12</c:v>
                </c:pt>
                <c:pt idx="579">
                  <c:v>100.13</c:v>
                </c:pt>
                <c:pt idx="580">
                  <c:v>101.74</c:v>
                </c:pt>
                <c:pt idx="581">
                  <c:v>103.85</c:v>
                </c:pt>
                <c:pt idx="582">
                  <c:v>102.65</c:v>
                </c:pt>
                <c:pt idx="583">
                  <c:v>103.05</c:v>
                </c:pt>
                <c:pt idx="584">
                  <c:v>100.81</c:v>
                </c:pt>
                <c:pt idx="585">
                  <c:v>104.43</c:v>
                </c:pt>
                <c:pt idx="586">
                  <c:v>105.38</c:v>
                </c:pt>
                <c:pt idx="587">
                  <c:v>106.25</c:v>
                </c:pt>
                <c:pt idx="588">
                  <c:v>106.6</c:v>
                </c:pt>
                <c:pt idx="589">
                  <c:v>107.12</c:v>
                </c:pt>
                <c:pt idx="590">
                  <c:v>106.93</c:v>
                </c:pt>
                <c:pt idx="591">
                  <c:v>106.33</c:v>
                </c:pt>
                <c:pt idx="592">
                  <c:v>107</c:v>
                </c:pt>
                <c:pt idx="593">
                  <c:v>106.78</c:v>
                </c:pt>
                <c:pt idx="594">
                  <c:v>107.66</c:v>
                </c:pt>
                <c:pt idx="595">
                  <c:v>108.87</c:v>
                </c:pt>
                <c:pt idx="596">
                  <c:v>108.04</c:v>
                </c:pt>
                <c:pt idx="597">
                  <c:v>109.17</c:v>
                </c:pt>
                <c:pt idx="598">
                  <c:v>107.67</c:v>
                </c:pt>
                <c:pt idx="599">
                  <c:v>106.96</c:v>
                </c:pt>
                <c:pt idx="600">
                  <c:v>106.66</c:v>
                </c:pt>
                <c:pt idx="601">
                  <c:v>107.4</c:v>
                </c:pt>
                <c:pt idx="602">
                  <c:v>106.36</c:v>
                </c:pt>
                <c:pt idx="603">
                  <c:v>106.09</c:v>
                </c:pt>
                <c:pt idx="604">
                  <c:v>104.82</c:v>
                </c:pt>
                <c:pt idx="605">
                  <c:v>106.08</c:v>
                </c:pt>
                <c:pt idx="606">
                  <c:v>106.9</c:v>
                </c:pt>
                <c:pt idx="607">
                  <c:v>105.56</c:v>
                </c:pt>
                <c:pt idx="608">
                  <c:v>105.81</c:v>
                </c:pt>
                <c:pt idx="609">
                  <c:v>109.18</c:v>
                </c:pt>
                <c:pt idx="610">
                  <c:v>110.88</c:v>
                </c:pt>
                <c:pt idx="611">
                  <c:v>110.95</c:v>
                </c:pt>
                <c:pt idx="612">
                  <c:v>111.53</c:v>
                </c:pt>
                <c:pt idx="613">
                  <c:v>112.37</c:v>
                </c:pt>
                <c:pt idx="614">
                  <c:v>111.57</c:v>
                </c:pt>
                <c:pt idx="615">
                  <c:v>114.58</c:v>
                </c:pt>
                <c:pt idx="616">
                  <c:v>114.1</c:v>
                </c:pt>
                <c:pt idx="617">
                  <c:v>112.82</c:v>
                </c:pt>
                <c:pt idx="618">
                  <c:v>113.07</c:v>
                </c:pt>
                <c:pt idx="619">
                  <c:v>112.5</c:v>
                </c:pt>
                <c:pt idx="620">
                  <c:v>113.12</c:v>
                </c:pt>
                <c:pt idx="621">
                  <c:v>112.23</c:v>
                </c:pt>
                <c:pt idx="622">
                  <c:v>112.73</c:v>
                </c:pt>
                <c:pt idx="623">
                  <c:v>109.79</c:v>
                </c:pt>
                <c:pt idx="624">
                  <c:v>110.62</c:v>
                </c:pt>
                <c:pt idx="625">
                  <c:v>109.28</c:v>
                </c:pt>
                <c:pt idx="626">
                  <c:v>111.36</c:v>
                </c:pt>
                <c:pt idx="627">
                  <c:v>110.76</c:v>
                </c:pt>
                <c:pt idx="628">
                  <c:v>110.54</c:v>
                </c:pt>
                <c:pt idx="629">
                  <c:v>110.5</c:v>
                </c:pt>
                <c:pt idx="630">
                  <c:v>112.11</c:v>
                </c:pt>
                <c:pt idx="631">
                  <c:v>110.64</c:v>
                </c:pt>
                <c:pt idx="632">
                  <c:v>110.08</c:v>
                </c:pt>
                <c:pt idx="633">
                  <c:v>109.28</c:v>
                </c:pt>
                <c:pt idx="634">
                  <c:v>110.55</c:v>
                </c:pt>
                <c:pt idx="635">
                  <c:v>109.81</c:v>
                </c:pt>
                <c:pt idx="636">
                  <c:v>110.36</c:v>
                </c:pt>
                <c:pt idx="637">
                  <c:v>112.44</c:v>
                </c:pt>
                <c:pt idx="638">
                  <c:v>113.48</c:v>
                </c:pt>
                <c:pt idx="639">
                  <c:v>114.1</c:v>
                </c:pt>
                <c:pt idx="640">
                  <c:v>112.63</c:v>
                </c:pt>
                <c:pt idx="641">
                  <c:v>112.32</c:v>
                </c:pt>
                <c:pt idx="642">
                  <c:v>110.18</c:v>
                </c:pt>
                <c:pt idx="643">
                  <c:v>110.84</c:v>
                </c:pt>
                <c:pt idx="644">
                  <c:v>111.16</c:v>
                </c:pt>
                <c:pt idx="645">
                  <c:v>111.16</c:v>
                </c:pt>
                <c:pt idx="646">
                  <c:v>110.81</c:v>
                </c:pt>
                <c:pt idx="647">
                  <c:v>112.06</c:v>
                </c:pt>
                <c:pt idx="648">
                  <c:v>111.71</c:v>
                </c:pt>
                <c:pt idx="649">
                  <c:v>113.54</c:v>
                </c:pt>
                <c:pt idx="650">
                  <c:v>114.1</c:v>
                </c:pt>
                <c:pt idx="651">
                  <c:v>113.2</c:v>
                </c:pt>
                <c:pt idx="652">
                  <c:v>114.22</c:v>
                </c:pt>
                <c:pt idx="653">
                  <c:v>112.3</c:v>
                </c:pt>
                <c:pt idx="654">
                  <c:v>112.14</c:v>
                </c:pt>
                <c:pt idx="655">
                  <c:v>111.5</c:v>
                </c:pt>
                <c:pt idx="656">
                  <c:v>111.24</c:v>
                </c:pt>
                <c:pt idx="657">
                  <c:v>112</c:v>
                </c:pt>
                <c:pt idx="658">
                  <c:v>110.88</c:v>
                </c:pt>
                <c:pt idx="659">
                  <c:v>109.85</c:v>
                </c:pt>
                <c:pt idx="660">
                  <c:v>108.48</c:v>
                </c:pt>
                <c:pt idx="661">
                  <c:v>111.36</c:v>
                </c:pt>
                <c:pt idx="662">
                  <c:v>111.82</c:v>
                </c:pt>
                <c:pt idx="663">
                  <c:v>112.04</c:v>
                </c:pt>
                <c:pt idx="664">
                  <c:v>112.94</c:v>
                </c:pt>
                <c:pt idx="665">
                  <c:v>113.82</c:v>
                </c:pt>
                <c:pt idx="666">
                  <c:v>113.06</c:v>
                </c:pt>
                <c:pt idx="667">
                  <c:v>113.58</c:v>
                </c:pt>
                <c:pt idx="668">
                  <c:v>113.46</c:v>
                </c:pt>
                <c:pt idx="669">
                  <c:v>115.18</c:v>
                </c:pt>
                <c:pt idx="670">
                  <c:v>115.14</c:v>
                </c:pt>
                <c:pt idx="671">
                  <c:v>115.36</c:v>
                </c:pt>
                <c:pt idx="672">
                  <c:v>115.5</c:v>
                </c:pt>
                <c:pt idx="673">
                  <c:v>116.04</c:v>
                </c:pt>
                <c:pt idx="674">
                  <c:v>117.15</c:v>
                </c:pt>
                <c:pt idx="675">
                  <c:v>117.27</c:v>
                </c:pt>
                <c:pt idx="676">
                  <c:v>117.1</c:v>
                </c:pt>
                <c:pt idx="677">
                  <c:v>117.51</c:v>
                </c:pt>
                <c:pt idx="678">
                  <c:v>117.75</c:v>
                </c:pt>
                <c:pt idx="679">
                  <c:v>117.39</c:v>
                </c:pt>
                <c:pt idx="680">
                  <c:v>117.53</c:v>
                </c:pt>
                <c:pt idx="681">
                  <c:v>117.68</c:v>
                </c:pt>
                <c:pt idx="682">
                  <c:v>118.63</c:v>
                </c:pt>
                <c:pt idx="683">
                  <c:v>119.5</c:v>
                </c:pt>
                <c:pt idx="684">
                  <c:v>119.73</c:v>
                </c:pt>
                <c:pt idx="685">
                  <c:v>119</c:v>
                </c:pt>
                <c:pt idx="686">
                  <c:v>118.79</c:v>
                </c:pt>
                <c:pt idx="687">
                  <c:v>119.16</c:v>
                </c:pt>
                <c:pt idx="688">
                  <c:v>118.22</c:v>
                </c:pt>
                <c:pt idx="689">
                  <c:v>118.58</c:v>
                </c:pt>
                <c:pt idx="690">
                  <c:v>121.87</c:v>
                </c:pt>
                <c:pt idx="691">
                  <c:v>122.34</c:v>
                </c:pt>
                <c:pt idx="692">
                  <c:v>122.49</c:v>
                </c:pt>
                <c:pt idx="693">
                  <c:v>122.43</c:v>
                </c:pt>
                <c:pt idx="694">
                  <c:v>121.95</c:v>
                </c:pt>
                <c:pt idx="695">
                  <c:v>123.08</c:v>
                </c:pt>
                <c:pt idx="696">
                  <c:v>123.06</c:v>
                </c:pt>
                <c:pt idx="697">
                  <c:v>122.99</c:v>
                </c:pt>
                <c:pt idx="698">
                  <c:v>122.64</c:v>
                </c:pt>
                <c:pt idx="699">
                  <c:v>122.04</c:v>
                </c:pt>
                <c:pt idx="700">
                  <c:v>121.95</c:v>
                </c:pt>
                <c:pt idx="701">
                  <c:v>122.52</c:v>
                </c:pt>
                <c:pt idx="702">
                  <c:v>122.42</c:v>
                </c:pt>
                <c:pt idx="703">
                  <c:v>123.03</c:v>
                </c:pt>
                <c:pt idx="704">
                  <c:v>122.87</c:v>
                </c:pt>
                <c:pt idx="705">
                  <c:v>122.62</c:v>
                </c:pt>
                <c:pt idx="706">
                  <c:v>123.27</c:v>
                </c:pt>
                <c:pt idx="707">
                  <c:v>123.74</c:v>
                </c:pt>
                <c:pt idx="708">
                  <c:v>123.78</c:v>
                </c:pt>
                <c:pt idx="709">
                  <c:v>123.83</c:v>
                </c:pt>
                <c:pt idx="710">
                  <c:v>122.81</c:v>
                </c:pt>
                <c:pt idx="711">
                  <c:v>122.38</c:v>
                </c:pt>
                <c:pt idx="712">
                  <c:v>122.98</c:v>
                </c:pt>
                <c:pt idx="713">
                  <c:v>120.43</c:v>
                </c:pt>
                <c:pt idx="714">
                  <c:v>121.25</c:v>
                </c:pt>
                <c:pt idx="715">
                  <c:v>120.71</c:v>
                </c:pt>
                <c:pt idx="716">
                  <c:v>120.57</c:v>
                </c:pt>
                <c:pt idx="717">
                  <c:v>122.13</c:v>
                </c:pt>
                <c:pt idx="718">
                  <c:v>121.47</c:v>
                </c:pt>
                <c:pt idx="719">
                  <c:v>122.45</c:v>
                </c:pt>
                <c:pt idx="720">
                  <c:v>123.28</c:v>
                </c:pt>
                <c:pt idx="721">
                  <c:v>123.11</c:v>
                </c:pt>
                <c:pt idx="722">
                  <c:v>122.7</c:v>
                </c:pt>
                <c:pt idx="723">
                  <c:v>122.38</c:v>
                </c:pt>
                <c:pt idx="724">
                  <c:v>123.92</c:v>
                </c:pt>
                <c:pt idx="725">
                  <c:v>123.22</c:v>
                </c:pt>
                <c:pt idx="726">
                  <c:v>120.9</c:v>
                </c:pt>
                <c:pt idx="727">
                  <c:v>122.53</c:v>
                </c:pt>
                <c:pt idx="728">
                  <c:v>122.67</c:v>
                </c:pt>
                <c:pt idx="729">
                  <c:v>120.4</c:v>
                </c:pt>
                <c:pt idx="730">
                  <c:v>121.84</c:v>
                </c:pt>
                <c:pt idx="731">
                  <c:v>122.73</c:v>
                </c:pt>
                <c:pt idx="732">
                  <c:v>121.87</c:v>
                </c:pt>
                <c:pt idx="733">
                  <c:v>121.34</c:v>
                </c:pt>
                <c:pt idx="734">
                  <c:v>124.18</c:v>
                </c:pt>
                <c:pt idx="735">
                  <c:v>123.84</c:v>
                </c:pt>
                <c:pt idx="736">
                  <c:v>123.81</c:v>
                </c:pt>
                <c:pt idx="737">
                  <c:v>125.08</c:v>
                </c:pt>
                <c:pt idx="738">
                  <c:v>124.73</c:v>
                </c:pt>
                <c:pt idx="739">
                  <c:v>124.79</c:v>
                </c:pt>
                <c:pt idx="740">
                  <c:v>124.73</c:v>
                </c:pt>
                <c:pt idx="741">
                  <c:v>126.2</c:v>
                </c:pt>
                <c:pt idx="742">
                  <c:v>125.81</c:v>
                </c:pt>
                <c:pt idx="743">
                  <c:v>124.97</c:v>
                </c:pt>
                <c:pt idx="744">
                  <c:v>123.38</c:v>
                </c:pt>
                <c:pt idx="745">
                  <c:v>124.06</c:v>
                </c:pt>
                <c:pt idx="746">
                  <c:v>122.96</c:v>
                </c:pt>
                <c:pt idx="747">
                  <c:v>122.2</c:v>
                </c:pt>
                <c:pt idx="748">
                  <c:v>121.25</c:v>
                </c:pt>
                <c:pt idx="749">
                  <c:v>121.45</c:v>
                </c:pt>
                <c:pt idx="750">
                  <c:v>120.68</c:v>
                </c:pt>
                <c:pt idx="751">
                  <c:v>120.95</c:v>
                </c:pt>
                <c:pt idx="752">
                  <c:v>122.47</c:v>
                </c:pt>
                <c:pt idx="753">
                  <c:v>120.98</c:v>
                </c:pt>
                <c:pt idx="754">
                  <c:v>119.6</c:v>
                </c:pt>
                <c:pt idx="755">
                  <c:v>117.74</c:v>
                </c:pt>
                <c:pt idx="756">
                  <c:v>117.71</c:v>
                </c:pt>
                <c:pt idx="757">
                  <c:v>118.48</c:v>
                </c:pt>
                <c:pt idx="758">
                  <c:v>121.23</c:v>
                </c:pt>
                <c:pt idx="759">
                  <c:v>122.07</c:v>
                </c:pt>
                <c:pt idx="760">
                  <c:v>120.46</c:v>
                </c:pt>
                <c:pt idx="761">
                  <c:v>119.04</c:v>
                </c:pt>
                <c:pt idx="762">
                  <c:v>118.51</c:v>
                </c:pt>
                <c:pt idx="763">
                  <c:v>116.21</c:v>
                </c:pt>
                <c:pt idx="764">
                  <c:v>115.83</c:v>
                </c:pt>
                <c:pt idx="765">
                  <c:v>116.53</c:v>
                </c:pt>
                <c:pt idx="766">
                  <c:v>116.66</c:v>
                </c:pt>
                <c:pt idx="767">
                  <c:v>119.88</c:v>
                </c:pt>
                <c:pt idx="768">
                  <c:v>121.25</c:v>
                </c:pt>
                <c:pt idx="769">
                  <c:v>122.65</c:v>
                </c:pt>
                <c:pt idx="770">
                  <c:v>122.32</c:v>
                </c:pt>
                <c:pt idx="771">
                  <c:v>123.01</c:v>
                </c:pt>
                <c:pt idx="772">
                  <c:v>122.84</c:v>
                </c:pt>
                <c:pt idx="773">
                  <c:v>122.92</c:v>
                </c:pt>
                <c:pt idx="774">
                  <c:v>123.46</c:v>
                </c:pt>
                <c:pt idx="775">
                  <c:v>125.39</c:v>
                </c:pt>
                <c:pt idx="776">
                  <c:v>125.46</c:v>
                </c:pt>
                <c:pt idx="777">
                  <c:v>126.47</c:v>
                </c:pt>
                <c:pt idx="778">
                  <c:v>127.38</c:v>
                </c:pt>
                <c:pt idx="779">
                  <c:v>127.7</c:v>
                </c:pt>
                <c:pt idx="780">
                  <c:v>127.83</c:v>
                </c:pt>
                <c:pt idx="781">
                  <c:v>127.37</c:v>
                </c:pt>
                <c:pt idx="782">
                  <c:v>127.79</c:v>
                </c:pt>
                <c:pt idx="783">
                  <c:v>128.86000000000001</c:v>
                </c:pt>
                <c:pt idx="784">
                  <c:v>129.01</c:v>
                </c:pt>
                <c:pt idx="785">
                  <c:v>129.63999999999999</c:v>
                </c:pt>
                <c:pt idx="786">
                  <c:v>130.04</c:v>
                </c:pt>
                <c:pt idx="787">
                  <c:v>130.19999999999999</c:v>
                </c:pt>
                <c:pt idx="788">
                  <c:v>130.75</c:v>
                </c:pt>
                <c:pt idx="789">
                  <c:v>127.4</c:v>
                </c:pt>
                <c:pt idx="790">
                  <c:v>126.88</c:v>
                </c:pt>
                <c:pt idx="791">
                  <c:v>127.58</c:v>
                </c:pt>
                <c:pt idx="792">
                  <c:v>129.54</c:v>
                </c:pt>
                <c:pt idx="793">
                  <c:v>127.75</c:v>
                </c:pt>
                <c:pt idx="794">
                  <c:v>128.79</c:v>
                </c:pt>
                <c:pt idx="795">
                  <c:v>127.79</c:v>
                </c:pt>
                <c:pt idx="796">
                  <c:v>127.1</c:v>
                </c:pt>
                <c:pt idx="797">
                  <c:v>127.34</c:v>
                </c:pt>
                <c:pt idx="798">
                  <c:v>125.3</c:v>
                </c:pt>
                <c:pt idx="799">
                  <c:v>123.41</c:v>
                </c:pt>
                <c:pt idx="800">
                  <c:v>125.03</c:v>
                </c:pt>
                <c:pt idx="801">
                  <c:v>124.84</c:v>
                </c:pt>
                <c:pt idx="802">
                  <c:v>123</c:v>
                </c:pt>
                <c:pt idx="803">
                  <c:v>122.22</c:v>
                </c:pt>
                <c:pt idx="804">
                  <c:v>122.38</c:v>
                </c:pt>
                <c:pt idx="805">
                  <c:v>122.99</c:v>
                </c:pt>
                <c:pt idx="806">
                  <c:v>123.6</c:v>
                </c:pt>
                <c:pt idx="807">
                  <c:v>123.84</c:v>
                </c:pt>
                <c:pt idx="808">
                  <c:v>123.42</c:v>
                </c:pt>
                <c:pt idx="809">
                  <c:v>119.54</c:v>
                </c:pt>
                <c:pt idx="810">
                  <c:v>117.76</c:v>
                </c:pt>
                <c:pt idx="811">
                  <c:v>115.56</c:v>
                </c:pt>
                <c:pt idx="812">
                  <c:v>117.37</c:v>
                </c:pt>
                <c:pt idx="813">
                  <c:v>119.34</c:v>
                </c:pt>
                <c:pt idx="814">
                  <c:v>119.63</c:v>
                </c:pt>
                <c:pt idx="815">
                  <c:v>118.73</c:v>
                </c:pt>
                <c:pt idx="816">
                  <c:v>120.44</c:v>
                </c:pt>
                <c:pt idx="817">
                  <c:v>119.92</c:v>
                </c:pt>
                <c:pt idx="818">
                  <c:v>119.04</c:v>
                </c:pt>
                <c:pt idx="819">
                  <c:v>122.17</c:v>
                </c:pt>
                <c:pt idx="820">
                  <c:v>120.23</c:v>
                </c:pt>
                <c:pt idx="821">
                  <c:v>122.3</c:v>
                </c:pt>
                <c:pt idx="822">
                  <c:v>123.47</c:v>
                </c:pt>
                <c:pt idx="823">
                  <c:v>123.39</c:v>
                </c:pt>
                <c:pt idx="824">
                  <c:v>124.52</c:v>
                </c:pt>
                <c:pt idx="825">
                  <c:v>124.31</c:v>
                </c:pt>
                <c:pt idx="826">
                  <c:v>124.95</c:v>
                </c:pt>
                <c:pt idx="827">
                  <c:v>124.35</c:v>
                </c:pt>
                <c:pt idx="828">
                  <c:v>125.3</c:v>
                </c:pt>
                <c:pt idx="829">
                  <c:v>126.73</c:v>
                </c:pt>
                <c:pt idx="830">
                  <c:v>126.92</c:v>
                </c:pt>
                <c:pt idx="831">
                  <c:v>127.29</c:v>
                </c:pt>
                <c:pt idx="832">
                  <c:v>127.2</c:v>
                </c:pt>
                <c:pt idx="833">
                  <c:v>128.01</c:v>
                </c:pt>
                <c:pt idx="834">
                  <c:v>127.28</c:v>
                </c:pt>
                <c:pt idx="835">
                  <c:v>127.04</c:v>
                </c:pt>
                <c:pt idx="836">
                  <c:v>126.92</c:v>
                </c:pt>
                <c:pt idx="837">
                  <c:v>127.01</c:v>
                </c:pt>
                <c:pt idx="838">
                  <c:v>126.96</c:v>
                </c:pt>
                <c:pt idx="839">
                  <c:v>129.16</c:v>
                </c:pt>
                <c:pt idx="840">
                  <c:v>129.38999999999999</c:v>
                </c:pt>
                <c:pt idx="841">
                  <c:v>129.68</c:v>
                </c:pt>
                <c:pt idx="842">
                  <c:v>128.86000000000001</c:v>
                </c:pt>
                <c:pt idx="843">
                  <c:v>128.85</c:v>
                </c:pt>
                <c:pt idx="844">
                  <c:v>130.07</c:v>
                </c:pt>
                <c:pt idx="845">
                  <c:v>131.13999999999999</c:v>
                </c:pt>
                <c:pt idx="846">
                  <c:v>131.38</c:v>
                </c:pt>
                <c:pt idx="847">
                  <c:v>132.01</c:v>
                </c:pt>
                <c:pt idx="848">
                  <c:v>132.87</c:v>
                </c:pt>
                <c:pt idx="849">
                  <c:v>131.38999999999999</c:v>
                </c:pt>
                <c:pt idx="850">
                  <c:v>132.29</c:v>
                </c:pt>
                <c:pt idx="851">
                  <c:v>131.19</c:v>
                </c:pt>
                <c:pt idx="852">
                  <c:v>129.56</c:v>
                </c:pt>
                <c:pt idx="853">
                  <c:v>128.72999999999999</c:v>
                </c:pt>
                <c:pt idx="854">
                  <c:v>130.57</c:v>
                </c:pt>
                <c:pt idx="855">
                  <c:v>131.22</c:v>
                </c:pt>
                <c:pt idx="856">
                  <c:v>130.82</c:v>
                </c:pt>
                <c:pt idx="857">
                  <c:v>127.77</c:v>
                </c:pt>
                <c:pt idx="858">
                  <c:v>127.34</c:v>
                </c:pt>
                <c:pt idx="859">
                  <c:v>128.13</c:v>
                </c:pt>
                <c:pt idx="860">
                  <c:v>126.8</c:v>
                </c:pt>
                <c:pt idx="861">
                  <c:v>129.44999999999999</c:v>
                </c:pt>
                <c:pt idx="862">
                  <c:v>129.38</c:v>
                </c:pt>
                <c:pt idx="863">
                  <c:v>129.76</c:v>
                </c:pt>
                <c:pt idx="864">
                  <c:v>130.77000000000001</c:v>
                </c:pt>
                <c:pt idx="865">
                  <c:v>131.5</c:v>
                </c:pt>
                <c:pt idx="866">
                  <c:v>131.9</c:v>
                </c:pt>
                <c:pt idx="867">
                  <c:v>134.21</c:v>
                </c:pt>
                <c:pt idx="868">
                  <c:v>134.62</c:v>
                </c:pt>
                <c:pt idx="869">
                  <c:v>134.49</c:v>
                </c:pt>
                <c:pt idx="870">
                  <c:v>134.34</c:v>
                </c:pt>
                <c:pt idx="871">
                  <c:v>135.58000000000001</c:v>
                </c:pt>
                <c:pt idx="872">
                  <c:v>134.9</c:v>
                </c:pt>
                <c:pt idx="873">
                  <c:v>135.71</c:v>
                </c:pt>
                <c:pt idx="874">
                  <c:v>136.61000000000001</c:v>
                </c:pt>
                <c:pt idx="875">
                  <c:v>136.02000000000001</c:v>
                </c:pt>
                <c:pt idx="876">
                  <c:v>135.1</c:v>
                </c:pt>
                <c:pt idx="877">
                  <c:v>135.52000000000001</c:v>
                </c:pt>
                <c:pt idx="878">
                  <c:v>135.54</c:v>
                </c:pt>
                <c:pt idx="879">
                  <c:v>135.21</c:v>
                </c:pt>
                <c:pt idx="880">
                  <c:v>134.66999999999999</c:v>
                </c:pt>
                <c:pt idx="881">
                  <c:v>133.58000000000001</c:v>
                </c:pt>
                <c:pt idx="882">
                  <c:v>135.38</c:v>
                </c:pt>
                <c:pt idx="883">
                  <c:v>134.94</c:v>
                </c:pt>
                <c:pt idx="884">
                  <c:v>134.01</c:v>
                </c:pt>
                <c:pt idx="885">
                  <c:v>134.32</c:v>
                </c:pt>
                <c:pt idx="886">
                  <c:v>133.82</c:v>
                </c:pt>
                <c:pt idx="887">
                  <c:v>132.80000000000001</c:v>
                </c:pt>
                <c:pt idx="888">
                  <c:v>132.06</c:v>
                </c:pt>
                <c:pt idx="889">
                  <c:v>135.04</c:v>
                </c:pt>
                <c:pt idx="890">
                  <c:v>135.66999999999999</c:v>
                </c:pt>
                <c:pt idx="891">
                  <c:v>135.79</c:v>
                </c:pt>
                <c:pt idx="892">
                  <c:v>137.15</c:v>
                </c:pt>
                <c:pt idx="893">
                  <c:v>137.66</c:v>
                </c:pt>
                <c:pt idx="894">
                  <c:v>137.33000000000001</c:v>
                </c:pt>
                <c:pt idx="895">
                  <c:v>138.47999999999999</c:v>
                </c:pt>
                <c:pt idx="896">
                  <c:v>139.05000000000001</c:v>
                </c:pt>
                <c:pt idx="897">
                  <c:v>139.77000000000001</c:v>
                </c:pt>
                <c:pt idx="898">
                  <c:v>138.52000000000001</c:v>
                </c:pt>
                <c:pt idx="899">
                  <c:v>139.29</c:v>
                </c:pt>
                <c:pt idx="900">
                  <c:v>139.03</c:v>
                </c:pt>
                <c:pt idx="901">
                  <c:v>138.16999999999999</c:v>
                </c:pt>
                <c:pt idx="902">
                  <c:v>138.68</c:v>
                </c:pt>
                <c:pt idx="903">
                  <c:v>138.63</c:v>
                </c:pt>
                <c:pt idx="904">
                  <c:v>139.37</c:v>
                </c:pt>
                <c:pt idx="905">
                  <c:v>138.78</c:v>
                </c:pt>
                <c:pt idx="906">
                  <c:v>139.26</c:v>
                </c:pt>
                <c:pt idx="907">
                  <c:v>138.62</c:v>
                </c:pt>
                <c:pt idx="908">
                  <c:v>139.53</c:v>
                </c:pt>
                <c:pt idx="909">
                  <c:v>139.55000000000001</c:v>
                </c:pt>
                <c:pt idx="910">
                  <c:v>139.32</c:v>
                </c:pt>
                <c:pt idx="911">
                  <c:v>139.88</c:v>
                </c:pt>
                <c:pt idx="912">
                  <c:v>138.68</c:v>
                </c:pt>
                <c:pt idx="913">
                  <c:v>137.68</c:v>
                </c:pt>
                <c:pt idx="914">
                  <c:v>139.07</c:v>
                </c:pt>
                <c:pt idx="915">
                  <c:v>139.18</c:v>
                </c:pt>
                <c:pt idx="916">
                  <c:v>139.9</c:v>
                </c:pt>
                <c:pt idx="917">
                  <c:v>138.71</c:v>
                </c:pt>
                <c:pt idx="918">
                  <c:v>138.82</c:v>
                </c:pt>
                <c:pt idx="919">
                  <c:v>138.54</c:v>
                </c:pt>
                <c:pt idx="920">
                  <c:v>138.71</c:v>
                </c:pt>
                <c:pt idx="921">
                  <c:v>139.41999999999999</c:v>
                </c:pt>
                <c:pt idx="922">
                  <c:v>138.9</c:v>
                </c:pt>
                <c:pt idx="923">
                  <c:v>140.04</c:v>
                </c:pt>
                <c:pt idx="924">
                  <c:v>140.99</c:v>
                </c:pt>
                <c:pt idx="925">
                  <c:v>140.94</c:v>
                </c:pt>
                <c:pt idx="926">
                  <c:v>140.47</c:v>
                </c:pt>
                <c:pt idx="927">
                  <c:v>137.86000000000001</c:v>
                </c:pt>
                <c:pt idx="928">
                  <c:v>137</c:v>
                </c:pt>
                <c:pt idx="929">
                  <c:v>135.56</c:v>
                </c:pt>
                <c:pt idx="930">
                  <c:v>136.69999999999999</c:v>
                </c:pt>
                <c:pt idx="931">
                  <c:v>137.1</c:v>
                </c:pt>
                <c:pt idx="932">
                  <c:v>136.19</c:v>
                </c:pt>
                <c:pt idx="933">
                  <c:v>135.38</c:v>
                </c:pt>
                <c:pt idx="934">
                  <c:v>133.85</c:v>
                </c:pt>
                <c:pt idx="935">
                  <c:v>133.91</c:v>
                </c:pt>
                <c:pt idx="936">
                  <c:v>135.93</c:v>
                </c:pt>
                <c:pt idx="937">
                  <c:v>134.66999999999999</c:v>
                </c:pt>
                <c:pt idx="938">
                  <c:v>136</c:v>
                </c:pt>
                <c:pt idx="939">
                  <c:v>138.41999999999999</c:v>
                </c:pt>
                <c:pt idx="940">
                  <c:v>139.37</c:v>
                </c:pt>
                <c:pt idx="941">
                  <c:v>140.6</c:v>
                </c:pt>
                <c:pt idx="942">
                  <c:v>140.85</c:v>
                </c:pt>
                <c:pt idx="943">
                  <c:v>142.47999999999999</c:v>
                </c:pt>
                <c:pt idx="944">
                  <c:v>142.43</c:v>
                </c:pt>
                <c:pt idx="945">
                  <c:v>142.83000000000001</c:v>
                </c:pt>
                <c:pt idx="946">
                  <c:v>141.71</c:v>
                </c:pt>
                <c:pt idx="947">
                  <c:v>142.36000000000001</c:v>
                </c:pt>
                <c:pt idx="948">
                  <c:v>142.27000000000001</c:v>
                </c:pt>
                <c:pt idx="949">
                  <c:v>143.91</c:v>
                </c:pt>
                <c:pt idx="950">
                  <c:v>144.61000000000001</c:v>
                </c:pt>
                <c:pt idx="951">
                  <c:v>143.91</c:v>
                </c:pt>
                <c:pt idx="952">
                  <c:v>144.49</c:v>
                </c:pt>
                <c:pt idx="953">
                  <c:v>145.43</c:v>
                </c:pt>
                <c:pt idx="954">
                  <c:v>145.46</c:v>
                </c:pt>
                <c:pt idx="955">
                  <c:v>147.56</c:v>
                </c:pt>
                <c:pt idx="956">
                  <c:v>147.07</c:v>
                </c:pt>
                <c:pt idx="957">
                  <c:v>147.88999999999999</c:v>
                </c:pt>
                <c:pt idx="958">
                  <c:v>147.24</c:v>
                </c:pt>
                <c:pt idx="959">
                  <c:v>146.88999999999999</c:v>
                </c:pt>
                <c:pt idx="960">
                  <c:v>146.75</c:v>
                </c:pt>
                <c:pt idx="961">
                  <c:v>145.12</c:v>
                </c:pt>
                <c:pt idx="962">
                  <c:v>141.31</c:v>
                </c:pt>
                <c:pt idx="963">
                  <c:v>140.57</c:v>
                </c:pt>
                <c:pt idx="964">
                  <c:v>142.28</c:v>
                </c:pt>
                <c:pt idx="965">
                  <c:v>141.6</c:v>
                </c:pt>
                <c:pt idx="966">
                  <c:v>141.85</c:v>
                </c:pt>
                <c:pt idx="967">
                  <c:v>141.12</c:v>
                </c:pt>
                <c:pt idx="968">
                  <c:v>138.58000000000001</c:v>
                </c:pt>
                <c:pt idx="969">
                  <c:v>138.97</c:v>
                </c:pt>
                <c:pt idx="970">
                  <c:v>139.22</c:v>
                </c:pt>
                <c:pt idx="971">
                  <c:v>141.43</c:v>
                </c:pt>
                <c:pt idx="972">
                  <c:v>142.41</c:v>
                </c:pt>
                <c:pt idx="973">
                  <c:v>142.37</c:v>
                </c:pt>
                <c:pt idx="974">
                  <c:v>144.61000000000001</c:v>
                </c:pt>
                <c:pt idx="975">
                  <c:v>145.75</c:v>
                </c:pt>
                <c:pt idx="976">
                  <c:v>145.15</c:v>
                </c:pt>
                <c:pt idx="977">
                  <c:v>145.94999999999999</c:v>
                </c:pt>
                <c:pt idx="978">
                  <c:v>146.44999999999999</c:v>
                </c:pt>
                <c:pt idx="979">
                  <c:v>146.30000000000001</c:v>
                </c:pt>
                <c:pt idx="980">
                  <c:v>146.44</c:v>
                </c:pt>
                <c:pt idx="981">
                  <c:v>145.84</c:v>
                </c:pt>
                <c:pt idx="982">
                  <c:v>146.24</c:v>
                </c:pt>
                <c:pt idx="983">
                  <c:v>147.22</c:v>
                </c:pt>
                <c:pt idx="984">
                  <c:v>147.13999999999999</c:v>
                </c:pt>
                <c:pt idx="985">
                  <c:v>146.72</c:v>
                </c:pt>
                <c:pt idx="986">
                  <c:v>146.6</c:v>
                </c:pt>
                <c:pt idx="987">
                  <c:v>147.27000000000001</c:v>
                </c:pt>
                <c:pt idx="988">
                  <c:v>143.38</c:v>
                </c:pt>
                <c:pt idx="989">
                  <c:v>146.63</c:v>
                </c:pt>
                <c:pt idx="990">
                  <c:v>146.87</c:v>
                </c:pt>
                <c:pt idx="991">
                  <c:v>147.51</c:v>
                </c:pt>
                <c:pt idx="992">
                  <c:v>145.35</c:v>
                </c:pt>
                <c:pt idx="993">
                  <c:v>144.51</c:v>
                </c:pt>
                <c:pt idx="994">
                  <c:v>144.49</c:v>
                </c:pt>
                <c:pt idx="995">
                  <c:v>142.94</c:v>
                </c:pt>
                <c:pt idx="996">
                  <c:v>141.28</c:v>
                </c:pt>
                <c:pt idx="997">
                  <c:v>139.93</c:v>
                </c:pt>
                <c:pt idx="998">
                  <c:v>142.04</c:v>
                </c:pt>
                <c:pt idx="999">
                  <c:v>143.06</c:v>
                </c:pt>
                <c:pt idx="1000">
                  <c:v>142.72999999999999</c:v>
                </c:pt>
                <c:pt idx="1001">
                  <c:v>143.18</c:v>
                </c:pt>
                <c:pt idx="1002">
                  <c:v>143.11000000000001</c:v>
                </c:pt>
                <c:pt idx="1003">
                  <c:v>141.30000000000001</c:v>
                </c:pt>
                <c:pt idx="1004">
                  <c:v>143.25</c:v>
                </c:pt>
                <c:pt idx="1005">
                  <c:v>144.4</c:v>
                </c:pt>
                <c:pt idx="1006">
                  <c:v>144.41999999999999</c:v>
                </c:pt>
                <c:pt idx="1007">
                  <c:v>145.47</c:v>
                </c:pt>
                <c:pt idx="1008">
                  <c:v>146.11000000000001</c:v>
                </c:pt>
                <c:pt idx="1009">
                  <c:v>147.81</c:v>
                </c:pt>
                <c:pt idx="1010">
                  <c:v>148.19</c:v>
                </c:pt>
                <c:pt idx="1011">
                  <c:v>148.6</c:v>
                </c:pt>
                <c:pt idx="1012">
                  <c:v>149.85</c:v>
                </c:pt>
                <c:pt idx="1013">
                  <c:v>147.56</c:v>
                </c:pt>
                <c:pt idx="1014">
                  <c:v>146.93</c:v>
                </c:pt>
                <c:pt idx="1015">
                  <c:v>147.29</c:v>
                </c:pt>
                <c:pt idx="1016">
                  <c:v>146.22</c:v>
                </c:pt>
                <c:pt idx="1017">
                  <c:v>144</c:v>
                </c:pt>
                <c:pt idx="1018">
                  <c:v>143.99</c:v>
                </c:pt>
                <c:pt idx="1019">
                  <c:v>142.02000000000001</c:v>
                </c:pt>
                <c:pt idx="1020">
                  <c:v>144.22</c:v>
                </c:pt>
                <c:pt idx="1021">
                  <c:v>145.13999999999999</c:v>
                </c:pt>
                <c:pt idx="1022">
                  <c:v>147.18</c:v>
                </c:pt>
                <c:pt idx="1023">
                  <c:v>146.21</c:v>
                </c:pt>
                <c:pt idx="1024">
                  <c:v>147.04</c:v>
                </c:pt>
                <c:pt idx="1025">
                  <c:v>145.49</c:v>
                </c:pt>
                <c:pt idx="1026">
                  <c:v>145.30000000000001</c:v>
                </c:pt>
                <c:pt idx="1027">
                  <c:v>147.18</c:v>
                </c:pt>
                <c:pt idx="1028">
                  <c:v>147.08000000000001</c:v>
                </c:pt>
                <c:pt idx="1029">
                  <c:v>147.30000000000001</c:v>
                </c:pt>
                <c:pt idx="1030">
                  <c:v>147.24</c:v>
                </c:pt>
                <c:pt idx="1031">
                  <c:v>146.74</c:v>
                </c:pt>
                <c:pt idx="1032">
                  <c:v>146.13999999999999</c:v>
                </c:pt>
                <c:pt idx="1033">
                  <c:v>145.86000000000001</c:v>
                </c:pt>
                <c:pt idx="1034">
                  <c:v>147.79</c:v>
                </c:pt>
                <c:pt idx="1035">
                  <c:v>146.9</c:v>
                </c:pt>
                <c:pt idx="1036">
                  <c:v>148.57</c:v>
                </c:pt>
                <c:pt idx="1037">
                  <c:v>149.13999999999999</c:v>
                </c:pt>
                <c:pt idx="1038">
                  <c:v>148.93</c:v>
                </c:pt>
                <c:pt idx="1039">
                  <c:v>146.47999999999999</c:v>
                </c:pt>
                <c:pt idx="1040">
                  <c:v>146.21</c:v>
                </c:pt>
                <c:pt idx="1041">
                  <c:v>146.12</c:v>
                </c:pt>
                <c:pt idx="1042">
                  <c:v>146.34</c:v>
                </c:pt>
                <c:pt idx="1043">
                  <c:v>147.22999999999999</c:v>
                </c:pt>
                <c:pt idx="1044">
                  <c:v>147.63</c:v>
                </c:pt>
                <c:pt idx="1045">
                  <c:v>148.36000000000001</c:v>
                </c:pt>
                <c:pt idx="1046">
                  <c:v>149.6</c:v>
                </c:pt>
                <c:pt idx="1047">
                  <c:v>150.27000000000001</c:v>
                </c:pt>
                <c:pt idx="1048">
                  <c:v>150.52000000000001</c:v>
                </c:pt>
                <c:pt idx="1049">
                  <c:v>150.43</c:v>
                </c:pt>
                <c:pt idx="1050">
                  <c:v>150.12</c:v>
                </c:pt>
                <c:pt idx="1051">
                  <c:v>150.6</c:v>
                </c:pt>
                <c:pt idx="1052">
                  <c:v>149.80000000000001</c:v>
                </c:pt>
                <c:pt idx="1053">
                  <c:v>150.22999999999999</c:v>
                </c:pt>
                <c:pt idx="1054">
                  <c:v>150.97999999999999</c:v>
                </c:pt>
                <c:pt idx="1055">
                  <c:v>152.66999999999999</c:v>
                </c:pt>
                <c:pt idx="1056">
                  <c:v>153.26</c:v>
                </c:pt>
                <c:pt idx="1057">
                  <c:v>153.22</c:v>
                </c:pt>
                <c:pt idx="1058">
                  <c:v>151.93</c:v>
                </c:pt>
                <c:pt idx="1059">
                  <c:v>151.57</c:v>
                </c:pt>
                <c:pt idx="1060">
                  <c:v>151.05000000000001</c:v>
                </c:pt>
                <c:pt idx="1061">
                  <c:v>150.19</c:v>
                </c:pt>
                <c:pt idx="1062">
                  <c:v>150.57</c:v>
                </c:pt>
                <c:pt idx="1063">
                  <c:v>150.34</c:v>
                </c:pt>
                <c:pt idx="1064">
                  <c:v>151.18</c:v>
                </c:pt>
                <c:pt idx="1065">
                  <c:v>150.59</c:v>
                </c:pt>
                <c:pt idx="1066">
                  <c:v>149.79</c:v>
                </c:pt>
                <c:pt idx="1067">
                  <c:v>149.16</c:v>
                </c:pt>
                <c:pt idx="1068">
                  <c:v>147.69999999999999</c:v>
                </c:pt>
                <c:pt idx="1069">
                  <c:v>147.28</c:v>
                </c:pt>
                <c:pt idx="1070">
                  <c:v>147.35</c:v>
                </c:pt>
                <c:pt idx="1071">
                  <c:v>147.16</c:v>
                </c:pt>
                <c:pt idx="1072">
                  <c:v>148.72999999999999</c:v>
                </c:pt>
                <c:pt idx="1073">
                  <c:v>149.19999999999999</c:v>
                </c:pt>
                <c:pt idx="1074">
                  <c:v>151.01</c:v>
                </c:pt>
                <c:pt idx="1075">
                  <c:v>150.35</c:v>
                </c:pt>
                <c:pt idx="1076">
                  <c:v>148.9</c:v>
                </c:pt>
                <c:pt idx="1077">
                  <c:v>146.4</c:v>
                </c:pt>
                <c:pt idx="1078">
                  <c:v>146.78</c:v>
                </c:pt>
                <c:pt idx="1079">
                  <c:v>144.74</c:v>
                </c:pt>
                <c:pt idx="1080">
                  <c:v>144.86000000000001</c:v>
                </c:pt>
                <c:pt idx="1081">
                  <c:v>146.37</c:v>
                </c:pt>
                <c:pt idx="1082">
                  <c:v>145.57</c:v>
                </c:pt>
                <c:pt idx="1083">
                  <c:v>148.04</c:v>
                </c:pt>
                <c:pt idx="1084">
                  <c:v>146.38999999999999</c:v>
                </c:pt>
                <c:pt idx="1085">
                  <c:v>146.37</c:v>
                </c:pt>
                <c:pt idx="1086">
                  <c:v>145.41999999999999</c:v>
                </c:pt>
                <c:pt idx="1087">
                  <c:v>147.58000000000001</c:v>
                </c:pt>
                <c:pt idx="1088">
                  <c:v>147.99</c:v>
                </c:pt>
                <c:pt idx="1089">
                  <c:v>149.11000000000001</c:v>
                </c:pt>
                <c:pt idx="1090">
                  <c:v>148.41999999999999</c:v>
                </c:pt>
                <c:pt idx="1091">
                  <c:v>148.05000000000001</c:v>
                </c:pt>
                <c:pt idx="1092">
                  <c:v>148.57</c:v>
                </c:pt>
                <c:pt idx="1093">
                  <c:v>148.05000000000001</c:v>
                </c:pt>
                <c:pt idx="1094">
                  <c:v>145.54</c:v>
                </c:pt>
                <c:pt idx="1095">
                  <c:v>143.44999999999999</c:v>
                </c:pt>
                <c:pt idx="1096">
                  <c:v>143.09</c:v>
                </c:pt>
                <c:pt idx="1097">
                  <c:v>143.19999999999999</c:v>
                </c:pt>
                <c:pt idx="1098">
                  <c:v>142.07</c:v>
                </c:pt>
                <c:pt idx="1099">
                  <c:v>140.97999999999999</c:v>
                </c:pt>
                <c:pt idx="1100">
                  <c:v>140.63</c:v>
                </c:pt>
                <c:pt idx="1101">
                  <c:v>142.88999999999999</c:v>
                </c:pt>
                <c:pt idx="1102">
                  <c:v>142.61000000000001</c:v>
                </c:pt>
                <c:pt idx="1103">
                  <c:v>143.4</c:v>
                </c:pt>
                <c:pt idx="1104">
                  <c:v>143.6</c:v>
                </c:pt>
                <c:pt idx="1105">
                  <c:v>142.88999999999999</c:v>
                </c:pt>
                <c:pt idx="1106">
                  <c:v>144.71</c:v>
                </c:pt>
                <c:pt idx="1107">
                  <c:v>145.36000000000001</c:v>
                </c:pt>
                <c:pt idx="1108">
                  <c:v>145.30000000000001</c:v>
                </c:pt>
                <c:pt idx="1109">
                  <c:v>146.52000000000001</c:v>
                </c:pt>
                <c:pt idx="1110">
                  <c:v>146.19999999999999</c:v>
                </c:pt>
                <c:pt idx="1111">
                  <c:v>148.09</c:v>
                </c:pt>
                <c:pt idx="1112">
                  <c:v>149.30000000000001</c:v>
                </c:pt>
                <c:pt idx="1113">
                  <c:v>149.54</c:v>
                </c:pt>
                <c:pt idx="1114">
                  <c:v>147.91999999999999</c:v>
                </c:pt>
                <c:pt idx="1115">
                  <c:v>148.36000000000001</c:v>
                </c:pt>
                <c:pt idx="1116">
                  <c:v>148.28</c:v>
                </c:pt>
                <c:pt idx="1117">
                  <c:v>148.55000000000001</c:v>
                </c:pt>
                <c:pt idx="1118">
                  <c:v>149.78</c:v>
                </c:pt>
                <c:pt idx="1119">
                  <c:v>151.88</c:v>
                </c:pt>
                <c:pt idx="1120">
                  <c:v>151.22999999999999</c:v>
                </c:pt>
                <c:pt idx="1121">
                  <c:v>150.62</c:v>
                </c:pt>
                <c:pt idx="1122">
                  <c:v>149.78</c:v>
                </c:pt>
                <c:pt idx="1123">
                  <c:v>149.77000000000001</c:v>
                </c:pt>
                <c:pt idx="1124">
                  <c:v>149.44</c:v>
                </c:pt>
                <c:pt idx="1125">
                  <c:v>149.55000000000001</c:v>
                </c:pt>
                <c:pt idx="1126">
                  <c:v>149.08000000000001</c:v>
                </c:pt>
                <c:pt idx="1127">
                  <c:v>148.41</c:v>
                </c:pt>
                <c:pt idx="1128">
                  <c:v>149.55000000000001</c:v>
                </c:pt>
                <c:pt idx="1129">
                  <c:v>151.31</c:v>
                </c:pt>
                <c:pt idx="1130">
                  <c:v>151.38999999999999</c:v>
                </c:pt>
                <c:pt idx="1131">
                  <c:v>150.26</c:v>
                </c:pt>
                <c:pt idx="1132">
                  <c:v>148.35</c:v>
                </c:pt>
                <c:pt idx="1133">
                  <c:v>149.34</c:v>
                </c:pt>
                <c:pt idx="1134">
                  <c:v>147.84</c:v>
                </c:pt>
                <c:pt idx="1135">
                  <c:v>148.31</c:v>
                </c:pt>
                <c:pt idx="1136">
                  <c:v>147.22999999999999</c:v>
                </c:pt>
                <c:pt idx="1137">
                  <c:v>148.29</c:v>
                </c:pt>
                <c:pt idx="1138">
                  <c:v>147</c:v>
                </c:pt>
                <c:pt idx="1139">
                  <c:v>143.16</c:v>
                </c:pt>
                <c:pt idx="1140">
                  <c:v>144.59</c:v>
                </c:pt>
                <c:pt idx="1141">
                  <c:v>145.22</c:v>
                </c:pt>
                <c:pt idx="1142">
                  <c:v>142.86000000000001</c:v>
                </c:pt>
                <c:pt idx="1143">
                  <c:v>141.16999999999999</c:v>
                </c:pt>
                <c:pt idx="1144">
                  <c:v>140.62</c:v>
                </c:pt>
                <c:pt idx="1145">
                  <c:v>138.24</c:v>
                </c:pt>
                <c:pt idx="1146">
                  <c:v>138.62</c:v>
                </c:pt>
                <c:pt idx="1147">
                  <c:v>139.02000000000001</c:v>
                </c:pt>
                <c:pt idx="1148">
                  <c:v>134.16</c:v>
                </c:pt>
                <c:pt idx="1149">
                  <c:v>133.77000000000001</c:v>
                </c:pt>
                <c:pt idx="1150">
                  <c:v>137.58000000000001</c:v>
                </c:pt>
                <c:pt idx="1151">
                  <c:v>136.68</c:v>
                </c:pt>
                <c:pt idx="1152">
                  <c:v>139.94999999999999</c:v>
                </c:pt>
                <c:pt idx="1153">
                  <c:v>140.86000000000001</c:v>
                </c:pt>
                <c:pt idx="1154">
                  <c:v>141.99</c:v>
                </c:pt>
                <c:pt idx="1155">
                  <c:v>141.5</c:v>
                </c:pt>
                <c:pt idx="1156">
                  <c:v>139.91</c:v>
                </c:pt>
                <c:pt idx="1157">
                  <c:v>141.72</c:v>
                </c:pt>
                <c:pt idx="1158">
                  <c:v>141.27000000000001</c:v>
                </c:pt>
                <c:pt idx="1159">
                  <c:v>141.80000000000001</c:v>
                </c:pt>
                <c:pt idx="1160">
                  <c:v>144.94999999999999</c:v>
                </c:pt>
                <c:pt idx="1161">
                  <c:v>144</c:v>
                </c:pt>
                <c:pt idx="1162">
                  <c:v>142.30000000000001</c:v>
                </c:pt>
                <c:pt idx="1163">
                  <c:v>144.63999999999999</c:v>
                </c:pt>
                <c:pt idx="1164">
                  <c:v>145.02000000000001</c:v>
                </c:pt>
                <c:pt idx="1165">
                  <c:v>144.19999999999999</c:v>
                </c:pt>
                <c:pt idx="1166">
                  <c:v>145.07</c:v>
                </c:pt>
                <c:pt idx="1167">
                  <c:v>145.25</c:v>
                </c:pt>
                <c:pt idx="1168">
                  <c:v>143.21</c:v>
                </c:pt>
                <c:pt idx="1169">
                  <c:v>143.47999999999999</c:v>
                </c:pt>
                <c:pt idx="1170">
                  <c:v>143.54</c:v>
                </c:pt>
                <c:pt idx="1171">
                  <c:v>144.28</c:v>
                </c:pt>
                <c:pt idx="1172">
                  <c:v>145.30000000000001</c:v>
                </c:pt>
                <c:pt idx="1173">
                  <c:v>145.04</c:v>
                </c:pt>
                <c:pt idx="1174">
                  <c:v>144.16999999999999</c:v>
                </c:pt>
                <c:pt idx="1175">
                  <c:v>147.97</c:v>
                </c:pt>
                <c:pt idx="1176">
                  <c:v>148.37</c:v>
                </c:pt>
                <c:pt idx="1177">
                  <c:v>149.08000000000001</c:v>
                </c:pt>
                <c:pt idx="1178">
                  <c:v>148.97999999999999</c:v>
                </c:pt>
                <c:pt idx="1179">
                  <c:v>149.56</c:v>
                </c:pt>
                <c:pt idx="1180">
                  <c:v>149.01</c:v>
                </c:pt>
                <c:pt idx="1181">
                  <c:v>147.97</c:v>
                </c:pt>
                <c:pt idx="1182">
                  <c:v>148.69999999999999</c:v>
                </c:pt>
                <c:pt idx="1183">
                  <c:v>149.91</c:v>
                </c:pt>
                <c:pt idx="1184">
                  <c:v>147.69999999999999</c:v>
                </c:pt>
                <c:pt idx="1185">
                  <c:v>150.68</c:v>
                </c:pt>
                <c:pt idx="1186">
                  <c:v>149.68</c:v>
                </c:pt>
                <c:pt idx="1187">
                  <c:v>146.12</c:v>
                </c:pt>
                <c:pt idx="1188">
                  <c:v>145.54</c:v>
                </c:pt>
                <c:pt idx="1189">
                  <c:v>145.32</c:v>
                </c:pt>
                <c:pt idx="1190">
                  <c:v>141.55000000000001</c:v>
                </c:pt>
                <c:pt idx="1191">
                  <c:v>138.30000000000001</c:v>
                </c:pt>
                <c:pt idx="1192">
                  <c:v>141.03</c:v>
                </c:pt>
                <c:pt idx="1193">
                  <c:v>140.96</c:v>
                </c:pt>
                <c:pt idx="1194">
                  <c:v>145.26</c:v>
                </c:pt>
                <c:pt idx="1195">
                  <c:v>145.77000000000001</c:v>
                </c:pt>
                <c:pt idx="1196">
                  <c:v>146.49</c:v>
                </c:pt>
                <c:pt idx="1197">
                  <c:v>147.94999999999999</c:v>
                </c:pt>
                <c:pt idx="1198">
                  <c:v>147.77000000000001</c:v>
                </c:pt>
                <c:pt idx="1199">
                  <c:v>147.82</c:v>
                </c:pt>
                <c:pt idx="1200">
                  <c:v>146.51</c:v>
                </c:pt>
                <c:pt idx="1201">
                  <c:v>147.07</c:v>
                </c:pt>
                <c:pt idx="1202">
                  <c:v>146.96</c:v>
                </c:pt>
                <c:pt idx="1203">
                  <c:v>143.16999999999999</c:v>
                </c:pt>
                <c:pt idx="1204">
                  <c:v>142.07</c:v>
                </c:pt>
                <c:pt idx="1205">
                  <c:v>142.32</c:v>
                </c:pt>
                <c:pt idx="1206">
                  <c:v>146.04</c:v>
                </c:pt>
                <c:pt idx="1207">
                  <c:v>143.41</c:v>
                </c:pt>
                <c:pt idx="1208">
                  <c:v>144.02000000000001</c:v>
                </c:pt>
                <c:pt idx="1209">
                  <c:v>145.97999999999999</c:v>
                </c:pt>
                <c:pt idx="1210">
                  <c:v>143.35</c:v>
                </c:pt>
                <c:pt idx="1211">
                  <c:v>146.69</c:v>
                </c:pt>
                <c:pt idx="1212">
                  <c:v>148.05000000000001</c:v>
                </c:pt>
                <c:pt idx="1213">
                  <c:v>148.68</c:v>
                </c:pt>
                <c:pt idx="1214">
                  <c:v>150.15</c:v>
                </c:pt>
                <c:pt idx="1215">
                  <c:v>151.18</c:v>
                </c:pt>
                <c:pt idx="1216">
                  <c:v>154.41999999999999</c:v>
                </c:pt>
                <c:pt idx="1217">
                  <c:v>155.91</c:v>
                </c:pt>
                <c:pt idx="1218">
                  <c:v>157</c:v>
                </c:pt>
                <c:pt idx="1219">
                  <c:v>154.85</c:v>
                </c:pt>
                <c:pt idx="1220">
                  <c:v>154.91</c:v>
                </c:pt>
                <c:pt idx="1221">
                  <c:v>154.74</c:v>
                </c:pt>
                <c:pt idx="1222">
                  <c:v>154.31</c:v>
                </c:pt>
                <c:pt idx="1223">
                  <c:v>154.68</c:v>
                </c:pt>
                <c:pt idx="1224">
                  <c:v>157.1</c:v>
                </c:pt>
                <c:pt idx="1225">
                  <c:v>157.44</c:v>
                </c:pt>
                <c:pt idx="1226">
                  <c:v>157.82</c:v>
                </c:pt>
                <c:pt idx="1227">
                  <c:v>158.19</c:v>
                </c:pt>
                <c:pt idx="1228">
                  <c:v>156.72999999999999</c:v>
                </c:pt>
                <c:pt idx="1229">
                  <c:v>157.72999999999999</c:v>
                </c:pt>
                <c:pt idx="1230">
                  <c:v>157.15</c:v>
                </c:pt>
                <c:pt idx="1231">
                  <c:v>159.47</c:v>
                </c:pt>
                <c:pt idx="1232">
                  <c:v>161.29</c:v>
                </c:pt>
                <c:pt idx="1233">
                  <c:v>161.43</c:v>
                </c:pt>
                <c:pt idx="1234">
                  <c:v>161.22999999999999</c:v>
                </c:pt>
                <c:pt idx="1235">
                  <c:v>163.44</c:v>
                </c:pt>
                <c:pt idx="1236">
                  <c:v>163.76</c:v>
                </c:pt>
                <c:pt idx="1237">
                  <c:v>164.18</c:v>
                </c:pt>
                <c:pt idx="1238">
                  <c:v>164.9</c:v>
                </c:pt>
                <c:pt idx="1239">
                  <c:v>165.97</c:v>
                </c:pt>
                <c:pt idx="1240">
                  <c:v>165.72</c:v>
                </c:pt>
                <c:pt idx="1241">
                  <c:v>167.37</c:v>
                </c:pt>
                <c:pt idx="1242">
                  <c:v>167.88</c:v>
                </c:pt>
                <c:pt idx="1243">
                  <c:v>167.64</c:v>
                </c:pt>
                <c:pt idx="1244">
                  <c:v>165.91</c:v>
                </c:pt>
                <c:pt idx="1245">
                  <c:v>166.8</c:v>
                </c:pt>
                <c:pt idx="1246">
                  <c:v>168.63</c:v>
                </c:pt>
                <c:pt idx="1247">
                  <c:v>169</c:v>
                </c:pt>
                <c:pt idx="1248">
                  <c:v>168.82</c:v>
                </c:pt>
                <c:pt idx="1249">
                  <c:v>167.52</c:v>
                </c:pt>
                <c:pt idx="1250">
                  <c:v>170.51</c:v>
                </c:pt>
                <c:pt idx="1251">
                  <c:v>170.22</c:v>
                </c:pt>
                <c:pt idx="1252">
                  <c:v>170.77</c:v>
                </c:pt>
                <c:pt idx="1253">
                  <c:v>172.45</c:v>
                </c:pt>
                <c:pt idx="1254">
                  <c:v>170.95</c:v>
                </c:pt>
                <c:pt idx="1255">
                  <c:v>171.21</c:v>
                </c:pt>
                <c:pt idx="1256">
                  <c:v>172.14</c:v>
                </c:pt>
                <c:pt idx="1257">
                  <c:v>174.19</c:v>
                </c:pt>
                <c:pt idx="1258">
                  <c:v>173.54</c:v>
                </c:pt>
                <c:pt idx="1259">
                  <c:v>174.64</c:v>
                </c:pt>
                <c:pt idx="1260">
                  <c:v>172.68</c:v>
                </c:pt>
                <c:pt idx="1261">
                  <c:v>171.14</c:v>
                </c:pt>
                <c:pt idx="1262">
                  <c:v>171.2</c:v>
                </c:pt>
                <c:pt idx="1263">
                  <c:v>173.44</c:v>
                </c:pt>
                <c:pt idx="1264">
                  <c:v>172.41</c:v>
                </c:pt>
                <c:pt idx="1265">
                  <c:v>173.17</c:v>
                </c:pt>
                <c:pt idx="1266">
                  <c:v>172.93</c:v>
                </c:pt>
                <c:pt idx="1267">
                  <c:v>175.49</c:v>
                </c:pt>
                <c:pt idx="1268">
                  <c:v>175.18</c:v>
                </c:pt>
                <c:pt idx="1269">
                  <c:v>176.75</c:v>
                </c:pt>
                <c:pt idx="1270">
                  <c:v>178.03</c:v>
                </c:pt>
                <c:pt idx="1271">
                  <c:v>178.48</c:v>
                </c:pt>
                <c:pt idx="1272">
                  <c:v>177.59</c:v>
                </c:pt>
                <c:pt idx="1273">
                  <c:v>178.62</c:v>
                </c:pt>
                <c:pt idx="1274">
                  <c:v>176.57</c:v>
                </c:pt>
                <c:pt idx="1275">
                  <c:v>172.8</c:v>
                </c:pt>
                <c:pt idx="1276">
                  <c:v>174.82</c:v>
                </c:pt>
                <c:pt idx="1277">
                  <c:v>175.81</c:v>
                </c:pt>
                <c:pt idx="1278">
                  <c:v>176.17</c:v>
                </c:pt>
                <c:pt idx="1279">
                  <c:v>175.35</c:v>
                </c:pt>
                <c:pt idx="1280">
                  <c:v>176.06</c:v>
                </c:pt>
                <c:pt idx="1281">
                  <c:v>178.24</c:v>
                </c:pt>
                <c:pt idx="1282">
                  <c:v>175.6</c:v>
                </c:pt>
                <c:pt idx="1283">
                  <c:v>171.85</c:v>
                </c:pt>
                <c:pt idx="1284">
                  <c:v>171.22</c:v>
                </c:pt>
                <c:pt idx="1285">
                  <c:v>170.98</c:v>
                </c:pt>
                <c:pt idx="1286">
                  <c:v>172.14</c:v>
                </c:pt>
                <c:pt idx="1287">
                  <c:v>169.52</c:v>
                </c:pt>
                <c:pt idx="1288">
                  <c:v>168.85</c:v>
                </c:pt>
                <c:pt idx="1289">
                  <c:v>169.34</c:v>
                </c:pt>
                <c:pt idx="1290">
                  <c:v>173.99</c:v>
                </c:pt>
                <c:pt idx="1291">
                  <c:v>174.7</c:v>
                </c:pt>
                <c:pt idx="1292">
                  <c:v>172.54</c:v>
                </c:pt>
                <c:pt idx="1293">
                  <c:v>172.61</c:v>
                </c:pt>
                <c:pt idx="1294">
                  <c:v>173.92</c:v>
                </c:pt>
                <c:pt idx="1295">
                  <c:v>173.35</c:v>
                </c:pt>
                <c:pt idx="1296">
                  <c:v>173.93</c:v>
                </c:pt>
                <c:pt idx="1297">
                  <c:v>176.62</c:v>
                </c:pt>
                <c:pt idx="1298">
                  <c:v>177.47</c:v>
                </c:pt>
                <c:pt idx="1299">
                  <c:v>178</c:v>
                </c:pt>
                <c:pt idx="1300">
                  <c:v>177.94</c:v>
                </c:pt>
                <c:pt idx="1301">
                  <c:v>177.25</c:v>
                </c:pt>
                <c:pt idx="1302">
                  <c:v>175.92</c:v>
                </c:pt>
                <c:pt idx="1303">
                  <c:v>178.43</c:v>
                </c:pt>
                <c:pt idx="1304">
                  <c:v>177.4</c:v>
                </c:pt>
              </c:numCache>
            </c:numRef>
          </c:val>
          <c:smooth val="0"/>
        </c:ser>
        <c:ser>
          <c:idx val="1"/>
          <c:order val="1"/>
          <c:tx>
            <c:strRef>
              <c:f>[1]Sheet1!$C$1</c:f>
              <c:strCache>
                <c:ptCount val="1"/>
                <c:pt idx="0">
                  <c:v>#REF!</c:v>
                </c:pt>
              </c:strCache>
            </c:strRef>
          </c:tx>
          <c:spPr>
            <a:ln w="19050">
              <a:solidFill>
                <a:schemeClr val="accent2"/>
              </a:solidFill>
              <a:prstDash val="solid"/>
            </a:ln>
          </c:spPr>
          <c:marker>
            <c:symbol val="none"/>
          </c:marker>
          <c:cat>
            <c:numRef>
              <c:f>[1]Sheet1!$A$2:$A$1247</c:f>
              <c:numCache>
                <c:formatCode>General</c:formatCode>
                <c:ptCount val="124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numCache>
            </c:numRef>
          </c:cat>
          <c:val>
            <c:numRef>
              <c:f>Sheet0!$C$2:$C$1306</c:f>
              <c:numCache>
                <c:formatCode>General</c:formatCode>
                <c:ptCount val="1305"/>
                <c:pt idx="0">
                  <c:v>120.61</c:v>
                </c:pt>
                <c:pt idx="1">
                  <c:v>120.97</c:v>
                </c:pt>
                <c:pt idx="2">
                  <c:v>117.58</c:v>
                </c:pt>
                <c:pt idx="3">
                  <c:v>116.59</c:v>
                </c:pt>
                <c:pt idx="4">
                  <c:v>114.96</c:v>
                </c:pt>
                <c:pt idx="5">
                  <c:v>110.53</c:v>
                </c:pt>
                <c:pt idx="6">
                  <c:v>118.44</c:v>
                </c:pt>
                <c:pt idx="7">
                  <c:v>117.94</c:v>
                </c:pt>
                <c:pt idx="8">
                  <c:v>119.7</c:v>
                </c:pt>
                <c:pt idx="9">
                  <c:v>120.01</c:v>
                </c:pt>
                <c:pt idx="10">
                  <c:v>115.94</c:v>
                </c:pt>
                <c:pt idx="11">
                  <c:v>115.77</c:v>
                </c:pt>
                <c:pt idx="12">
                  <c:v>117.27</c:v>
                </c:pt>
                <c:pt idx="13">
                  <c:v>113.79</c:v>
                </c:pt>
                <c:pt idx="14">
                  <c:v>111.33</c:v>
                </c:pt>
                <c:pt idx="15">
                  <c:v>110.8</c:v>
                </c:pt>
                <c:pt idx="16">
                  <c:v>111.31</c:v>
                </c:pt>
                <c:pt idx="17">
                  <c:v>108.55</c:v>
                </c:pt>
                <c:pt idx="18">
                  <c:v>111.19</c:v>
                </c:pt>
                <c:pt idx="19">
                  <c:v>114.54</c:v>
                </c:pt>
                <c:pt idx="20">
                  <c:v>114.2</c:v>
                </c:pt>
                <c:pt idx="21">
                  <c:v>114.66</c:v>
                </c:pt>
                <c:pt idx="22">
                  <c:v>114.84</c:v>
                </c:pt>
                <c:pt idx="23">
                  <c:v>114.99</c:v>
                </c:pt>
                <c:pt idx="24">
                  <c:v>116.63</c:v>
                </c:pt>
                <c:pt idx="25">
                  <c:v>114.58</c:v>
                </c:pt>
                <c:pt idx="26">
                  <c:v>113.74</c:v>
                </c:pt>
                <c:pt idx="27">
                  <c:v>112.49</c:v>
                </c:pt>
                <c:pt idx="28">
                  <c:v>114.64</c:v>
                </c:pt>
                <c:pt idx="29">
                  <c:v>116.46</c:v>
                </c:pt>
                <c:pt idx="30">
                  <c:v>116.93</c:v>
                </c:pt>
                <c:pt idx="31">
                  <c:v>118.41</c:v>
                </c:pt>
                <c:pt idx="32">
                  <c:v>119.24</c:v>
                </c:pt>
                <c:pt idx="33">
                  <c:v>119.33</c:v>
                </c:pt>
                <c:pt idx="34">
                  <c:v>119.53</c:v>
                </c:pt>
                <c:pt idx="35">
                  <c:v>119.76</c:v>
                </c:pt>
                <c:pt idx="36">
                  <c:v>121.05</c:v>
                </c:pt>
                <c:pt idx="37">
                  <c:v>120.46</c:v>
                </c:pt>
                <c:pt idx="38">
                  <c:v>119.3</c:v>
                </c:pt>
                <c:pt idx="39">
                  <c:v>117.12</c:v>
                </c:pt>
                <c:pt idx="40">
                  <c:v>116.44</c:v>
                </c:pt>
                <c:pt idx="41">
                  <c:v>117.86</c:v>
                </c:pt>
                <c:pt idx="42">
                  <c:v>114.33</c:v>
                </c:pt>
                <c:pt idx="43">
                  <c:v>114.1</c:v>
                </c:pt>
                <c:pt idx="44">
                  <c:v>111.3</c:v>
                </c:pt>
                <c:pt idx="45">
                  <c:v>111.29</c:v>
                </c:pt>
                <c:pt idx="46">
                  <c:v>111.02</c:v>
                </c:pt>
                <c:pt idx="47">
                  <c:v>113.88</c:v>
                </c:pt>
                <c:pt idx="48">
                  <c:v>115.43</c:v>
                </c:pt>
                <c:pt idx="49">
                  <c:v>116.63</c:v>
                </c:pt>
                <c:pt idx="50">
                  <c:v>117.33</c:v>
                </c:pt>
                <c:pt idx="51">
                  <c:v>117.85</c:v>
                </c:pt>
                <c:pt idx="52">
                  <c:v>120.1</c:v>
                </c:pt>
                <c:pt idx="53">
                  <c:v>120.07</c:v>
                </c:pt>
                <c:pt idx="54">
                  <c:v>118.69</c:v>
                </c:pt>
                <c:pt idx="55">
                  <c:v>116.41</c:v>
                </c:pt>
                <c:pt idx="56">
                  <c:v>115.5</c:v>
                </c:pt>
                <c:pt idx="57">
                  <c:v>115.58</c:v>
                </c:pt>
                <c:pt idx="58">
                  <c:v>116.95</c:v>
                </c:pt>
                <c:pt idx="59">
                  <c:v>119.36</c:v>
                </c:pt>
                <c:pt idx="60">
                  <c:v>120.11</c:v>
                </c:pt>
                <c:pt idx="61">
                  <c:v>120.65</c:v>
                </c:pt>
                <c:pt idx="62">
                  <c:v>121.11</c:v>
                </c:pt>
                <c:pt idx="63">
                  <c:v>120.73</c:v>
                </c:pt>
                <c:pt idx="64">
                  <c:v>120.29</c:v>
                </c:pt>
                <c:pt idx="65">
                  <c:v>119.86</c:v>
                </c:pt>
                <c:pt idx="66">
                  <c:v>123.05</c:v>
                </c:pt>
                <c:pt idx="67">
                  <c:v>123.04</c:v>
                </c:pt>
                <c:pt idx="68">
                  <c:v>123.16</c:v>
                </c:pt>
                <c:pt idx="69">
                  <c:v>122.84</c:v>
                </c:pt>
                <c:pt idx="70">
                  <c:v>121.54</c:v>
                </c:pt>
                <c:pt idx="71">
                  <c:v>123.2</c:v>
                </c:pt>
                <c:pt idx="72">
                  <c:v>122.11</c:v>
                </c:pt>
                <c:pt idx="73">
                  <c:v>119.7</c:v>
                </c:pt>
                <c:pt idx="74">
                  <c:v>119.82</c:v>
                </c:pt>
                <c:pt idx="75">
                  <c:v>120.11</c:v>
                </c:pt>
                <c:pt idx="76">
                  <c:v>120.14</c:v>
                </c:pt>
                <c:pt idx="77">
                  <c:v>121.48</c:v>
                </c:pt>
                <c:pt idx="78">
                  <c:v>121.14</c:v>
                </c:pt>
                <c:pt idx="79">
                  <c:v>119.4</c:v>
                </c:pt>
                <c:pt idx="80">
                  <c:v>118.58</c:v>
                </c:pt>
                <c:pt idx="81">
                  <c:v>119.33</c:v>
                </c:pt>
                <c:pt idx="82">
                  <c:v>117.31</c:v>
                </c:pt>
                <c:pt idx="83">
                  <c:v>116.41</c:v>
                </c:pt>
                <c:pt idx="84">
                  <c:v>117.41</c:v>
                </c:pt>
                <c:pt idx="85">
                  <c:v>118.16</c:v>
                </c:pt>
                <c:pt idx="86">
                  <c:v>118.14</c:v>
                </c:pt>
                <c:pt idx="87">
                  <c:v>118.21</c:v>
                </c:pt>
                <c:pt idx="88">
                  <c:v>121.45</c:v>
                </c:pt>
                <c:pt idx="89">
                  <c:v>121.45</c:v>
                </c:pt>
                <c:pt idx="90">
                  <c:v>122.5</c:v>
                </c:pt>
                <c:pt idx="91">
                  <c:v>122.75</c:v>
                </c:pt>
                <c:pt idx="92">
                  <c:v>122.2</c:v>
                </c:pt>
                <c:pt idx="93">
                  <c:v>123.45</c:v>
                </c:pt>
                <c:pt idx="94">
                  <c:v>124.75</c:v>
                </c:pt>
                <c:pt idx="95">
                  <c:v>124.57</c:v>
                </c:pt>
                <c:pt idx="96">
                  <c:v>125.4</c:v>
                </c:pt>
                <c:pt idx="97">
                  <c:v>125.37</c:v>
                </c:pt>
                <c:pt idx="98">
                  <c:v>124.97</c:v>
                </c:pt>
                <c:pt idx="99">
                  <c:v>124</c:v>
                </c:pt>
                <c:pt idx="100">
                  <c:v>123.71</c:v>
                </c:pt>
                <c:pt idx="101">
                  <c:v>125.31</c:v>
                </c:pt>
                <c:pt idx="102">
                  <c:v>124.74</c:v>
                </c:pt>
                <c:pt idx="103">
                  <c:v>122.95</c:v>
                </c:pt>
                <c:pt idx="104">
                  <c:v>122.9</c:v>
                </c:pt>
                <c:pt idx="105">
                  <c:v>124.26</c:v>
                </c:pt>
                <c:pt idx="106">
                  <c:v>123.76</c:v>
                </c:pt>
                <c:pt idx="107">
                  <c:v>123.5</c:v>
                </c:pt>
                <c:pt idx="108">
                  <c:v>122.88</c:v>
                </c:pt>
                <c:pt idx="109">
                  <c:v>122.27</c:v>
                </c:pt>
                <c:pt idx="110">
                  <c:v>121.98</c:v>
                </c:pt>
                <c:pt idx="111">
                  <c:v>121.34</c:v>
                </c:pt>
                <c:pt idx="112">
                  <c:v>122.96</c:v>
                </c:pt>
                <c:pt idx="113">
                  <c:v>123.59</c:v>
                </c:pt>
                <c:pt idx="114">
                  <c:v>123.5</c:v>
                </c:pt>
                <c:pt idx="115">
                  <c:v>123.48</c:v>
                </c:pt>
                <c:pt idx="116">
                  <c:v>123.93</c:v>
                </c:pt>
                <c:pt idx="117">
                  <c:v>123.59</c:v>
                </c:pt>
                <c:pt idx="118">
                  <c:v>125.38</c:v>
                </c:pt>
                <c:pt idx="119">
                  <c:v>125.11</c:v>
                </c:pt>
                <c:pt idx="120">
                  <c:v>125.2</c:v>
                </c:pt>
                <c:pt idx="121">
                  <c:v>125.58</c:v>
                </c:pt>
                <c:pt idx="122">
                  <c:v>124.92</c:v>
                </c:pt>
                <c:pt idx="123">
                  <c:v>125.36</c:v>
                </c:pt>
                <c:pt idx="124">
                  <c:v>126.06</c:v>
                </c:pt>
                <c:pt idx="125">
                  <c:v>125.65</c:v>
                </c:pt>
                <c:pt idx="126">
                  <c:v>125.97</c:v>
                </c:pt>
                <c:pt idx="127">
                  <c:v>125.73</c:v>
                </c:pt>
                <c:pt idx="128">
                  <c:v>124.82</c:v>
                </c:pt>
                <c:pt idx="129">
                  <c:v>125.27</c:v>
                </c:pt>
                <c:pt idx="130">
                  <c:v>125.31</c:v>
                </c:pt>
                <c:pt idx="131">
                  <c:v>125.51</c:v>
                </c:pt>
                <c:pt idx="132">
                  <c:v>126.03</c:v>
                </c:pt>
                <c:pt idx="133">
                  <c:v>125.59</c:v>
                </c:pt>
                <c:pt idx="134">
                  <c:v>127.62</c:v>
                </c:pt>
                <c:pt idx="135">
                  <c:v>128.16</c:v>
                </c:pt>
                <c:pt idx="136">
                  <c:v>128.18</c:v>
                </c:pt>
                <c:pt idx="137">
                  <c:v>128.91999999999999</c:v>
                </c:pt>
                <c:pt idx="138">
                  <c:v>128.02000000000001</c:v>
                </c:pt>
                <c:pt idx="139">
                  <c:v>127.97</c:v>
                </c:pt>
                <c:pt idx="140">
                  <c:v>127.45</c:v>
                </c:pt>
                <c:pt idx="141">
                  <c:v>128.47999999999999</c:v>
                </c:pt>
                <c:pt idx="142">
                  <c:v>125.47</c:v>
                </c:pt>
                <c:pt idx="143">
                  <c:v>126.18</c:v>
                </c:pt>
                <c:pt idx="144">
                  <c:v>127.99</c:v>
                </c:pt>
                <c:pt idx="145">
                  <c:v>127.21</c:v>
                </c:pt>
                <c:pt idx="146">
                  <c:v>126.4</c:v>
                </c:pt>
                <c:pt idx="147">
                  <c:v>124.45</c:v>
                </c:pt>
                <c:pt idx="148">
                  <c:v>125.72</c:v>
                </c:pt>
                <c:pt idx="149">
                  <c:v>126.39</c:v>
                </c:pt>
                <c:pt idx="150">
                  <c:v>125.87</c:v>
                </c:pt>
                <c:pt idx="151">
                  <c:v>123.78</c:v>
                </c:pt>
                <c:pt idx="152">
                  <c:v>123.62</c:v>
                </c:pt>
                <c:pt idx="153">
                  <c:v>126.14</c:v>
                </c:pt>
                <c:pt idx="154">
                  <c:v>128.27000000000001</c:v>
                </c:pt>
                <c:pt idx="155">
                  <c:v>127.96</c:v>
                </c:pt>
                <c:pt idx="156">
                  <c:v>128.16999999999999</c:v>
                </c:pt>
                <c:pt idx="157">
                  <c:v>129.36000000000001</c:v>
                </c:pt>
                <c:pt idx="158">
                  <c:v>129.87</c:v>
                </c:pt>
                <c:pt idx="159">
                  <c:v>130.33000000000001</c:v>
                </c:pt>
                <c:pt idx="160">
                  <c:v>130.44</c:v>
                </c:pt>
                <c:pt idx="161">
                  <c:v>130.83000000000001</c:v>
                </c:pt>
                <c:pt idx="162">
                  <c:v>131.13999999999999</c:v>
                </c:pt>
                <c:pt idx="163">
                  <c:v>130.62</c:v>
                </c:pt>
                <c:pt idx="164">
                  <c:v>131.13</c:v>
                </c:pt>
                <c:pt idx="165">
                  <c:v>130.57</c:v>
                </c:pt>
                <c:pt idx="166">
                  <c:v>131.5</c:v>
                </c:pt>
                <c:pt idx="167">
                  <c:v>132.79</c:v>
                </c:pt>
                <c:pt idx="168">
                  <c:v>132.94999999999999</c:v>
                </c:pt>
                <c:pt idx="169">
                  <c:v>133.1</c:v>
                </c:pt>
                <c:pt idx="170">
                  <c:v>132.94</c:v>
                </c:pt>
                <c:pt idx="171">
                  <c:v>131.88</c:v>
                </c:pt>
                <c:pt idx="172">
                  <c:v>132.16999999999999</c:v>
                </c:pt>
                <c:pt idx="173">
                  <c:v>132.57</c:v>
                </c:pt>
                <c:pt idx="174">
                  <c:v>130.87</c:v>
                </c:pt>
                <c:pt idx="175">
                  <c:v>130.30000000000001</c:v>
                </c:pt>
                <c:pt idx="176">
                  <c:v>131.35</c:v>
                </c:pt>
                <c:pt idx="177">
                  <c:v>132.46</c:v>
                </c:pt>
                <c:pt idx="178">
                  <c:v>132.51</c:v>
                </c:pt>
                <c:pt idx="179">
                  <c:v>132.99</c:v>
                </c:pt>
                <c:pt idx="180">
                  <c:v>132.76</c:v>
                </c:pt>
                <c:pt idx="181">
                  <c:v>131.58000000000001</c:v>
                </c:pt>
                <c:pt idx="182">
                  <c:v>133.22999999999999</c:v>
                </c:pt>
                <c:pt idx="183">
                  <c:v>135.03</c:v>
                </c:pt>
                <c:pt idx="184">
                  <c:v>134.21</c:v>
                </c:pt>
                <c:pt idx="185">
                  <c:v>134.08000000000001</c:v>
                </c:pt>
                <c:pt idx="186">
                  <c:v>134.24</c:v>
                </c:pt>
                <c:pt idx="187">
                  <c:v>135.49</c:v>
                </c:pt>
                <c:pt idx="188">
                  <c:v>133.63</c:v>
                </c:pt>
                <c:pt idx="189">
                  <c:v>132.05000000000001</c:v>
                </c:pt>
                <c:pt idx="190">
                  <c:v>132.94</c:v>
                </c:pt>
                <c:pt idx="191">
                  <c:v>133.29</c:v>
                </c:pt>
                <c:pt idx="192">
                  <c:v>132.38999999999999</c:v>
                </c:pt>
                <c:pt idx="193">
                  <c:v>133.56</c:v>
                </c:pt>
                <c:pt idx="194">
                  <c:v>133.76</c:v>
                </c:pt>
                <c:pt idx="195">
                  <c:v>132.61000000000001</c:v>
                </c:pt>
                <c:pt idx="196">
                  <c:v>132.41999999999999</c:v>
                </c:pt>
                <c:pt idx="197">
                  <c:v>134.38999999999999</c:v>
                </c:pt>
                <c:pt idx="198">
                  <c:v>134.62</c:v>
                </c:pt>
                <c:pt idx="199">
                  <c:v>134.82</c:v>
                </c:pt>
                <c:pt idx="200">
                  <c:v>135.24</c:v>
                </c:pt>
                <c:pt idx="201">
                  <c:v>136.58000000000001</c:v>
                </c:pt>
                <c:pt idx="202">
                  <c:v>136.5</c:v>
                </c:pt>
                <c:pt idx="203">
                  <c:v>136.01</c:v>
                </c:pt>
                <c:pt idx="204">
                  <c:v>135.75</c:v>
                </c:pt>
                <c:pt idx="205">
                  <c:v>136.32</c:v>
                </c:pt>
                <c:pt idx="206">
                  <c:v>136.85</c:v>
                </c:pt>
                <c:pt idx="207">
                  <c:v>137.01</c:v>
                </c:pt>
                <c:pt idx="208">
                  <c:v>137.61000000000001</c:v>
                </c:pt>
                <c:pt idx="209">
                  <c:v>137.82</c:v>
                </c:pt>
                <c:pt idx="210">
                  <c:v>137.77000000000001</c:v>
                </c:pt>
                <c:pt idx="211">
                  <c:v>135.94</c:v>
                </c:pt>
                <c:pt idx="212">
                  <c:v>135.09</c:v>
                </c:pt>
                <c:pt idx="213">
                  <c:v>133.69</c:v>
                </c:pt>
                <c:pt idx="214">
                  <c:v>132.9</c:v>
                </c:pt>
                <c:pt idx="215">
                  <c:v>134.58000000000001</c:v>
                </c:pt>
                <c:pt idx="216">
                  <c:v>135.69</c:v>
                </c:pt>
                <c:pt idx="217">
                  <c:v>134.83000000000001</c:v>
                </c:pt>
                <c:pt idx="218">
                  <c:v>133.97999999999999</c:v>
                </c:pt>
                <c:pt idx="219">
                  <c:v>134.41999999999999</c:v>
                </c:pt>
                <c:pt idx="220">
                  <c:v>133.63</c:v>
                </c:pt>
                <c:pt idx="221">
                  <c:v>133.07</c:v>
                </c:pt>
                <c:pt idx="222">
                  <c:v>133.59</c:v>
                </c:pt>
                <c:pt idx="223">
                  <c:v>133.38</c:v>
                </c:pt>
                <c:pt idx="224">
                  <c:v>131.82</c:v>
                </c:pt>
                <c:pt idx="225">
                  <c:v>130.65</c:v>
                </c:pt>
                <c:pt idx="226">
                  <c:v>129.27000000000001</c:v>
                </c:pt>
                <c:pt idx="227">
                  <c:v>126.33</c:v>
                </c:pt>
                <c:pt idx="228">
                  <c:v>124.41</c:v>
                </c:pt>
                <c:pt idx="229">
                  <c:v>126.74</c:v>
                </c:pt>
                <c:pt idx="230">
                  <c:v>127</c:v>
                </c:pt>
                <c:pt idx="231">
                  <c:v>129.24</c:v>
                </c:pt>
                <c:pt idx="232">
                  <c:v>128.97999999999999</c:v>
                </c:pt>
                <c:pt idx="233">
                  <c:v>129.62</c:v>
                </c:pt>
                <c:pt idx="234">
                  <c:v>130.9</c:v>
                </c:pt>
                <c:pt idx="235">
                  <c:v>131.04</c:v>
                </c:pt>
                <c:pt idx="236">
                  <c:v>131.16</c:v>
                </c:pt>
                <c:pt idx="237">
                  <c:v>131.28</c:v>
                </c:pt>
                <c:pt idx="238">
                  <c:v>132.28</c:v>
                </c:pt>
                <c:pt idx="239">
                  <c:v>131.03</c:v>
                </c:pt>
                <c:pt idx="240">
                  <c:v>133.01</c:v>
                </c:pt>
                <c:pt idx="241">
                  <c:v>133.19</c:v>
                </c:pt>
                <c:pt idx="242">
                  <c:v>133.5</c:v>
                </c:pt>
                <c:pt idx="243">
                  <c:v>133.84</c:v>
                </c:pt>
                <c:pt idx="244">
                  <c:v>133.47999999999999</c:v>
                </c:pt>
                <c:pt idx="245">
                  <c:v>133.93</c:v>
                </c:pt>
                <c:pt idx="246">
                  <c:v>133.61000000000001</c:v>
                </c:pt>
                <c:pt idx="247">
                  <c:v>131.36000000000001</c:v>
                </c:pt>
                <c:pt idx="248">
                  <c:v>132.34</c:v>
                </c:pt>
                <c:pt idx="249">
                  <c:v>131.80000000000001</c:v>
                </c:pt>
                <c:pt idx="250">
                  <c:v>132.19</c:v>
                </c:pt>
                <c:pt idx="251">
                  <c:v>130.03</c:v>
                </c:pt>
                <c:pt idx="252">
                  <c:v>130.69999999999999</c:v>
                </c:pt>
                <c:pt idx="253">
                  <c:v>132.94999999999999</c:v>
                </c:pt>
                <c:pt idx="254">
                  <c:v>133.71</c:v>
                </c:pt>
                <c:pt idx="255">
                  <c:v>134.1</c:v>
                </c:pt>
                <c:pt idx="256">
                  <c:v>134.59</c:v>
                </c:pt>
                <c:pt idx="257">
                  <c:v>135.03</c:v>
                </c:pt>
                <c:pt idx="258">
                  <c:v>135.47999999999999</c:v>
                </c:pt>
                <c:pt idx="259">
                  <c:v>135.62</c:v>
                </c:pt>
                <c:pt idx="260">
                  <c:v>134.97</c:v>
                </c:pt>
                <c:pt idx="261">
                  <c:v>133.19999999999999</c:v>
                </c:pt>
                <c:pt idx="262">
                  <c:v>132.94</c:v>
                </c:pt>
                <c:pt idx="263">
                  <c:v>134.76</c:v>
                </c:pt>
                <c:pt idx="264">
                  <c:v>134.38</c:v>
                </c:pt>
                <c:pt idx="265">
                  <c:v>135.6</c:v>
                </c:pt>
                <c:pt idx="266">
                  <c:v>136.08000000000001</c:v>
                </c:pt>
                <c:pt idx="267">
                  <c:v>135.16999999999999</c:v>
                </c:pt>
                <c:pt idx="268">
                  <c:v>134.61000000000001</c:v>
                </c:pt>
                <c:pt idx="269">
                  <c:v>134.5</c:v>
                </c:pt>
                <c:pt idx="270">
                  <c:v>133.13999999999999</c:v>
                </c:pt>
                <c:pt idx="271">
                  <c:v>133.61000000000001</c:v>
                </c:pt>
                <c:pt idx="272">
                  <c:v>134.49</c:v>
                </c:pt>
                <c:pt idx="273">
                  <c:v>134.4</c:v>
                </c:pt>
                <c:pt idx="274">
                  <c:v>132.21</c:v>
                </c:pt>
                <c:pt idx="275">
                  <c:v>132.51</c:v>
                </c:pt>
                <c:pt idx="276">
                  <c:v>133.47999999999999</c:v>
                </c:pt>
                <c:pt idx="277">
                  <c:v>133.38999999999999</c:v>
                </c:pt>
                <c:pt idx="278">
                  <c:v>134.33000000000001</c:v>
                </c:pt>
                <c:pt idx="279">
                  <c:v>134.22</c:v>
                </c:pt>
                <c:pt idx="280">
                  <c:v>135.33000000000001</c:v>
                </c:pt>
                <c:pt idx="281">
                  <c:v>134.18</c:v>
                </c:pt>
                <c:pt idx="282">
                  <c:v>132.4</c:v>
                </c:pt>
                <c:pt idx="283">
                  <c:v>131.91999999999999</c:v>
                </c:pt>
                <c:pt idx="284">
                  <c:v>131.21</c:v>
                </c:pt>
                <c:pt idx="285">
                  <c:v>131.07</c:v>
                </c:pt>
                <c:pt idx="286">
                  <c:v>129.69999999999999</c:v>
                </c:pt>
                <c:pt idx="287">
                  <c:v>131.03</c:v>
                </c:pt>
                <c:pt idx="288">
                  <c:v>129.30000000000001</c:v>
                </c:pt>
                <c:pt idx="289">
                  <c:v>129.59</c:v>
                </c:pt>
                <c:pt idx="290">
                  <c:v>130.61000000000001</c:v>
                </c:pt>
                <c:pt idx="291">
                  <c:v>129.22999999999999</c:v>
                </c:pt>
                <c:pt idx="292">
                  <c:v>128.63999999999999</c:v>
                </c:pt>
                <c:pt idx="293">
                  <c:v>128.86000000000001</c:v>
                </c:pt>
                <c:pt idx="294">
                  <c:v>128.19999999999999</c:v>
                </c:pt>
                <c:pt idx="295">
                  <c:v>130.05000000000001</c:v>
                </c:pt>
                <c:pt idx="296">
                  <c:v>129.33000000000001</c:v>
                </c:pt>
                <c:pt idx="297">
                  <c:v>127.52</c:v>
                </c:pt>
                <c:pt idx="298">
                  <c:v>127.37</c:v>
                </c:pt>
                <c:pt idx="299">
                  <c:v>127.38</c:v>
                </c:pt>
                <c:pt idx="300">
                  <c:v>127.98</c:v>
                </c:pt>
                <c:pt idx="301">
                  <c:v>130.19</c:v>
                </c:pt>
                <c:pt idx="302">
                  <c:v>131.66999999999999</c:v>
                </c:pt>
                <c:pt idx="303">
                  <c:v>132.68</c:v>
                </c:pt>
                <c:pt idx="304">
                  <c:v>132.97999999999999</c:v>
                </c:pt>
                <c:pt idx="305">
                  <c:v>133.04</c:v>
                </c:pt>
                <c:pt idx="306">
                  <c:v>132.63999999999999</c:v>
                </c:pt>
                <c:pt idx="307">
                  <c:v>133.19999999999999</c:v>
                </c:pt>
                <c:pt idx="308">
                  <c:v>132.16</c:v>
                </c:pt>
                <c:pt idx="309">
                  <c:v>130.30000000000001</c:v>
                </c:pt>
                <c:pt idx="310">
                  <c:v>129.46</c:v>
                </c:pt>
                <c:pt idx="311">
                  <c:v>130.34</c:v>
                </c:pt>
                <c:pt idx="312">
                  <c:v>129.25</c:v>
                </c:pt>
                <c:pt idx="313">
                  <c:v>128.88</c:v>
                </c:pt>
                <c:pt idx="314">
                  <c:v>126.55</c:v>
                </c:pt>
                <c:pt idx="315">
                  <c:v>127.6</c:v>
                </c:pt>
                <c:pt idx="316">
                  <c:v>129.28</c:v>
                </c:pt>
                <c:pt idx="317">
                  <c:v>130.61000000000001</c:v>
                </c:pt>
                <c:pt idx="318">
                  <c:v>131.35</c:v>
                </c:pt>
                <c:pt idx="319">
                  <c:v>131</c:v>
                </c:pt>
                <c:pt idx="320">
                  <c:v>130.41999999999999</c:v>
                </c:pt>
                <c:pt idx="321">
                  <c:v>128.97999999999999</c:v>
                </c:pt>
                <c:pt idx="322">
                  <c:v>129</c:v>
                </c:pt>
                <c:pt idx="323">
                  <c:v>128.12</c:v>
                </c:pt>
                <c:pt idx="324">
                  <c:v>126.58</c:v>
                </c:pt>
                <c:pt idx="325">
                  <c:v>124.14</c:v>
                </c:pt>
                <c:pt idx="326">
                  <c:v>121.83</c:v>
                </c:pt>
                <c:pt idx="327">
                  <c:v>117.58</c:v>
                </c:pt>
                <c:pt idx="328">
                  <c:v>115.51</c:v>
                </c:pt>
                <c:pt idx="329">
                  <c:v>110.73</c:v>
                </c:pt>
                <c:pt idx="330">
                  <c:v>112.28</c:v>
                </c:pt>
                <c:pt idx="331">
                  <c:v>108.13</c:v>
                </c:pt>
                <c:pt idx="332">
                  <c:v>110.85</c:v>
                </c:pt>
                <c:pt idx="333">
                  <c:v>114.9</c:v>
                </c:pt>
                <c:pt idx="334">
                  <c:v>115.07</c:v>
                </c:pt>
                <c:pt idx="335">
                  <c:v>114.93</c:v>
                </c:pt>
                <c:pt idx="336">
                  <c:v>115.24</c:v>
                </c:pt>
                <c:pt idx="337">
                  <c:v>109.75</c:v>
                </c:pt>
                <c:pt idx="338">
                  <c:v>108.02</c:v>
                </c:pt>
                <c:pt idx="339">
                  <c:v>108.88</c:v>
                </c:pt>
                <c:pt idx="340">
                  <c:v>109.72</c:v>
                </c:pt>
                <c:pt idx="341">
                  <c:v>111.25</c:v>
                </c:pt>
                <c:pt idx="342">
                  <c:v>109.94</c:v>
                </c:pt>
                <c:pt idx="343">
                  <c:v>109.19</c:v>
                </c:pt>
                <c:pt idx="344">
                  <c:v>110.52</c:v>
                </c:pt>
                <c:pt idx="345">
                  <c:v>111.67</c:v>
                </c:pt>
                <c:pt idx="346">
                  <c:v>114.96</c:v>
                </c:pt>
                <c:pt idx="347">
                  <c:v>115.69</c:v>
                </c:pt>
                <c:pt idx="348">
                  <c:v>112.87</c:v>
                </c:pt>
                <c:pt idx="349">
                  <c:v>108.21</c:v>
                </c:pt>
                <c:pt idx="350">
                  <c:v>107.5</c:v>
                </c:pt>
                <c:pt idx="351">
                  <c:v>110.88</c:v>
                </c:pt>
                <c:pt idx="352">
                  <c:v>111.67</c:v>
                </c:pt>
                <c:pt idx="353">
                  <c:v>108.82</c:v>
                </c:pt>
                <c:pt idx="354">
                  <c:v>106.08</c:v>
                </c:pt>
                <c:pt idx="355">
                  <c:v>107.02</c:v>
                </c:pt>
                <c:pt idx="356">
                  <c:v>108.63</c:v>
                </c:pt>
                <c:pt idx="357">
                  <c:v>110.82</c:v>
                </c:pt>
                <c:pt idx="358">
                  <c:v>111.54</c:v>
                </c:pt>
                <c:pt idx="359">
                  <c:v>109.06</c:v>
                </c:pt>
                <c:pt idx="360">
                  <c:v>111.07</c:v>
                </c:pt>
                <c:pt idx="361">
                  <c:v>109.25</c:v>
                </c:pt>
                <c:pt idx="362">
                  <c:v>104.18</c:v>
                </c:pt>
                <c:pt idx="363">
                  <c:v>104.82</c:v>
                </c:pt>
                <c:pt idx="364">
                  <c:v>106.8</c:v>
                </c:pt>
                <c:pt idx="365">
                  <c:v>111.47</c:v>
                </c:pt>
                <c:pt idx="366">
                  <c:v>110.26</c:v>
                </c:pt>
                <c:pt idx="367">
                  <c:v>110.99</c:v>
                </c:pt>
                <c:pt idx="368">
                  <c:v>109.69</c:v>
                </c:pt>
                <c:pt idx="369">
                  <c:v>108.45</c:v>
                </c:pt>
                <c:pt idx="370">
                  <c:v>105.46</c:v>
                </c:pt>
                <c:pt idx="371">
                  <c:v>108.71</c:v>
                </c:pt>
                <c:pt idx="372">
                  <c:v>111.68</c:v>
                </c:pt>
                <c:pt idx="373">
                  <c:v>112.51</c:v>
                </c:pt>
                <c:pt idx="374">
                  <c:v>114.43</c:v>
                </c:pt>
                <c:pt idx="375">
                  <c:v>114.11</c:v>
                </c:pt>
                <c:pt idx="376">
                  <c:v>116.01</c:v>
                </c:pt>
                <c:pt idx="377">
                  <c:v>114.74</c:v>
                </c:pt>
                <c:pt idx="378">
                  <c:v>115.7</c:v>
                </c:pt>
                <c:pt idx="379">
                  <c:v>114.61</c:v>
                </c:pt>
                <c:pt idx="380">
                  <c:v>114.18</c:v>
                </c:pt>
                <c:pt idx="381">
                  <c:v>114.85</c:v>
                </c:pt>
                <c:pt idx="382">
                  <c:v>113.08</c:v>
                </c:pt>
                <c:pt idx="383">
                  <c:v>115.93</c:v>
                </c:pt>
                <c:pt idx="384">
                  <c:v>117.44</c:v>
                </c:pt>
                <c:pt idx="385">
                  <c:v>116.59</c:v>
                </c:pt>
                <c:pt idx="386">
                  <c:v>116.85</c:v>
                </c:pt>
                <c:pt idx="387">
                  <c:v>121.03</c:v>
                </c:pt>
                <c:pt idx="388">
                  <c:v>120.83</c:v>
                </c:pt>
                <c:pt idx="389">
                  <c:v>118.16</c:v>
                </c:pt>
                <c:pt idx="390">
                  <c:v>114.07</c:v>
                </c:pt>
                <c:pt idx="391">
                  <c:v>115.2</c:v>
                </c:pt>
                <c:pt idx="392">
                  <c:v>117.61</c:v>
                </c:pt>
                <c:pt idx="393">
                  <c:v>116.43</c:v>
                </c:pt>
                <c:pt idx="394">
                  <c:v>115.85</c:v>
                </c:pt>
                <c:pt idx="395">
                  <c:v>116.85</c:v>
                </c:pt>
                <c:pt idx="396">
                  <c:v>114.85</c:v>
                </c:pt>
                <c:pt idx="397">
                  <c:v>114.39</c:v>
                </c:pt>
                <c:pt idx="398">
                  <c:v>117.12</c:v>
                </c:pt>
                <c:pt idx="399">
                  <c:v>115.9</c:v>
                </c:pt>
                <c:pt idx="400">
                  <c:v>115.2</c:v>
                </c:pt>
                <c:pt idx="401">
                  <c:v>115.26</c:v>
                </c:pt>
                <c:pt idx="402">
                  <c:v>113.77</c:v>
                </c:pt>
                <c:pt idx="403">
                  <c:v>112.9</c:v>
                </c:pt>
                <c:pt idx="404">
                  <c:v>109.31</c:v>
                </c:pt>
                <c:pt idx="405">
                  <c:v>108.59</c:v>
                </c:pt>
                <c:pt idx="406">
                  <c:v>107.19</c:v>
                </c:pt>
                <c:pt idx="407">
                  <c:v>107.03</c:v>
                </c:pt>
                <c:pt idx="408">
                  <c:v>107.78</c:v>
                </c:pt>
                <c:pt idx="409">
                  <c:v>111.82</c:v>
                </c:pt>
                <c:pt idx="410">
                  <c:v>112.72</c:v>
                </c:pt>
                <c:pt idx="411">
                  <c:v>116.84</c:v>
                </c:pt>
                <c:pt idx="412">
                  <c:v>116.07</c:v>
                </c:pt>
                <c:pt idx="413">
                  <c:v>117.16</c:v>
                </c:pt>
                <c:pt idx="414">
                  <c:v>118.14</c:v>
                </c:pt>
                <c:pt idx="415">
                  <c:v>117.74</c:v>
                </c:pt>
                <c:pt idx="416">
                  <c:v>117.51</c:v>
                </c:pt>
                <c:pt idx="417">
                  <c:v>115.69</c:v>
                </c:pt>
                <c:pt idx="418">
                  <c:v>117.06</c:v>
                </c:pt>
                <c:pt idx="419">
                  <c:v>114.9</c:v>
                </c:pt>
                <c:pt idx="420">
                  <c:v>115.51</c:v>
                </c:pt>
                <c:pt idx="421">
                  <c:v>113.14</c:v>
                </c:pt>
                <c:pt idx="422">
                  <c:v>114.26</c:v>
                </c:pt>
                <c:pt idx="423">
                  <c:v>113.76</c:v>
                </c:pt>
                <c:pt idx="424">
                  <c:v>113.81</c:v>
                </c:pt>
                <c:pt idx="425">
                  <c:v>116.13</c:v>
                </c:pt>
                <c:pt idx="426">
                  <c:v>115.54</c:v>
                </c:pt>
                <c:pt idx="427">
                  <c:v>116.75</c:v>
                </c:pt>
                <c:pt idx="428">
                  <c:v>117.76</c:v>
                </c:pt>
                <c:pt idx="429">
                  <c:v>117.79</c:v>
                </c:pt>
                <c:pt idx="430">
                  <c:v>116.96</c:v>
                </c:pt>
                <c:pt idx="431">
                  <c:v>118.06</c:v>
                </c:pt>
                <c:pt idx="432">
                  <c:v>119.08</c:v>
                </c:pt>
                <c:pt idx="433">
                  <c:v>120.35</c:v>
                </c:pt>
                <c:pt idx="434">
                  <c:v>122.27</c:v>
                </c:pt>
                <c:pt idx="435">
                  <c:v>121.57</c:v>
                </c:pt>
                <c:pt idx="436">
                  <c:v>120.48</c:v>
                </c:pt>
                <c:pt idx="437">
                  <c:v>120.55</c:v>
                </c:pt>
                <c:pt idx="438">
                  <c:v>120.01</c:v>
                </c:pt>
                <c:pt idx="439">
                  <c:v>122.18</c:v>
                </c:pt>
                <c:pt idx="440">
                  <c:v>121.74</c:v>
                </c:pt>
                <c:pt idx="441">
                  <c:v>121.53</c:v>
                </c:pt>
                <c:pt idx="442">
                  <c:v>121.38</c:v>
                </c:pt>
                <c:pt idx="443">
                  <c:v>122.34</c:v>
                </c:pt>
                <c:pt idx="444">
                  <c:v>123.39</c:v>
                </c:pt>
                <c:pt idx="445">
                  <c:v>123.52</c:v>
                </c:pt>
                <c:pt idx="446">
                  <c:v>125.02</c:v>
                </c:pt>
                <c:pt idx="447">
                  <c:v>124.67</c:v>
                </c:pt>
                <c:pt idx="448">
                  <c:v>125.24</c:v>
                </c:pt>
                <c:pt idx="449">
                  <c:v>124.77</c:v>
                </c:pt>
                <c:pt idx="450">
                  <c:v>124.29</c:v>
                </c:pt>
                <c:pt idx="451">
                  <c:v>125.71</c:v>
                </c:pt>
                <c:pt idx="452">
                  <c:v>124.52</c:v>
                </c:pt>
                <c:pt idx="453">
                  <c:v>123.11</c:v>
                </c:pt>
                <c:pt idx="454">
                  <c:v>124.04</c:v>
                </c:pt>
                <c:pt idx="455">
                  <c:v>126.53</c:v>
                </c:pt>
                <c:pt idx="456">
                  <c:v>126.82</c:v>
                </c:pt>
                <c:pt idx="457">
                  <c:v>129</c:v>
                </c:pt>
                <c:pt idx="458">
                  <c:v>128.84</c:v>
                </c:pt>
                <c:pt idx="459">
                  <c:v>128.5</c:v>
                </c:pt>
                <c:pt idx="460">
                  <c:v>128.24</c:v>
                </c:pt>
                <c:pt idx="461">
                  <c:v>128.54</c:v>
                </c:pt>
                <c:pt idx="462">
                  <c:v>127.38</c:v>
                </c:pt>
                <c:pt idx="463">
                  <c:v>128.32</c:v>
                </c:pt>
                <c:pt idx="464">
                  <c:v>128.02000000000001</c:v>
                </c:pt>
                <c:pt idx="465">
                  <c:v>128.94</c:v>
                </c:pt>
                <c:pt idx="466">
                  <c:v>129.02000000000001</c:v>
                </c:pt>
                <c:pt idx="467">
                  <c:v>129.81</c:v>
                </c:pt>
                <c:pt idx="468">
                  <c:v>130.9</c:v>
                </c:pt>
                <c:pt idx="469">
                  <c:v>130.22999999999999</c:v>
                </c:pt>
                <c:pt idx="470">
                  <c:v>129.18</c:v>
                </c:pt>
                <c:pt idx="471">
                  <c:v>128.93</c:v>
                </c:pt>
                <c:pt idx="472">
                  <c:v>129.27000000000001</c:v>
                </c:pt>
                <c:pt idx="473">
                  <c:v>128.9</c:v>
                </c:pt>
                <c:pt idx="474">
                  <c:v>129.13</c:v>
                </c:pt>
                <c:pt idx="475">
                  <c:v>129.18</c:v>
                </c:pt>
                <c:pt idx="476">
                  <c:v>130.53</c:v>
                </c:pt>
                <c:pt idx="477">
                  <c:v>130.6</c:v>
                </c:pt>
                <c:pt idx="478">
                  <c:v>129.79</c:v>
                </c:pt>
                <c:pt idx="479">
                  <c:v>126.33</c:v>
                </c:pt>
                <c:pt idx="480">
                  <c:v>127.21</c:v>
                </c:pt>
                <c:pt idx="481">
                  <c:v>129.26</c:v>
                </c:pt>
                <c:pt idx="482">
                  <c:v>129.9</c:v>
                </c:pt>
                <c:pt idx="483">
                  <c:v>129.62</c:v>
                </c:pt>
                <c:pt idx="484">
                  <c:v>131.91999999999999</c:v>
                </c:pt>
                <c:pt idx="485">
                  <c:v>132.32</c:v>
                </c:pt>
                <c:pt idx="486">
                  <c:v>132.66999999999999</c:v>
                </c:pt>
                <c:pt idx="487">
                  <c:v>133.37</c:v>
                </c:pt>
                <c:pt idx="488">
                  <c:v>133.22</c:v>
                </c:pt>
                <c:pt idx="489">
                  <c:v>131.71</c:v>
                </c:pt>
                <c:pt idx="490">
                  <c:v>131.59</c:v>
                </c:pt>
                <c:pt idx="491">
                  <c:v>130.05000000000001</c:v>
                </c:pt>
                <c:pt idx="492">
                  <c:v>130.13999999999999</c:v>
                </c:pt>
                <c:pt idx="493">
                  <c:v>131.35</c:v>
                </c:pt>
                <c:pt idx="494">
                  <c:v>130.77000000000001</c:v>
                </c:pt>
                <c:pt idx="495">
                  <c:v>129.44</c:v>
                </c:pt>
                <c:pt idx="496">
                  <c:v>127.8</c:v>
                </c:pt>
                <c:pt idx="497">
                  <c:v>129.08000000000001</c:v>
                </c:pt>
                <c:pt idx="498">
                  <c:v>131.03</c:v>
                </c:pt>
                <c:pt idx="499">
                  <c:v>129.62</c:v>
                </c:pt>
                <c:pt idx="500">
                  <c:v>126.93</c:v>
                </c:pt>
                <c:pt idx="501">
                  <c:v>127.14</c:v>
                </c:pt>
                <c:pt idx="502">
                  <c:v>123.96</c:v>
                </c:pt>
                <c:pt idx="503">
                  <c:v>124.89</c:v>
                </c:pt>
                <c:pt idx="504">
                  <c:v>126.34</c:v>
                </c:pt>
                <c:pt idx="505">
                  <c:v>124.45</c:v>
                </c:pt>
                <c:pt idx="506">
                  <c:v>124.91</c:v>
                </c:pt>
                <c:pt idx="507">
                  <c:v>127.48</c:v>
                </c:pt>
                <c:pt idx="508">
                  <c:v>126.67</c:v>
                </c:pt>
                <c:pt idx="509">
                  <c:v>126.1</c:v>
                </c:pt>
                <c:pt idx="510">
                  <c:v>126.78</c:v>
                </c:pt>
                <c:pt idx="511">
                  <c:v>123.91</c:v>
                </c:pt>
                <c:pt idx="512">
                  <c:v>125.22</c:v>
                </c:pt>
                <c:pt idx="513">
                  <c:v>126.59</c:v>
                </c:pt>
                <c:pt idx="514">
                  <c:v>126.74</c:v>
                </c:pt>
                <c:pt idx="515">
                  <c:v>127.75</c:v>
                </c:pt>
                <c:pt idx="516">
                  <c:v>126.95</c:v>
                </c:pt>
                <c:pt idx="517">
                  <c:v>127.49</c:v>
                </c:pt>
                <c:pt idx="518">
                  <c:v>127.06</c:v>
                </c:pt>
                <c:pt idx="519">
                  <c:v>127.15</c:v>
                </c:pt>
                <c:pt idx="520">
                  <c:v>125.05</c:v>
                </c:pt>
                <c:pt idx="521">
                  <c:v>125.99</c:v>
                </c:pt>
                <c:pt idx="522">
                  <c:v>123.92</c:v>
                </c:pt>
                <c:pt idx="523">
                  <c:v>123.63</c:v>
                </c:pt>
                <c:pt idx="524">
                  <c:v>124.43</c:v>
                </c:pt>
                <c:pt idx="525">
                  <c:v>124.91</c:v>
                </c:pt>
                <c:pt idx="526">
                  <c:v>122.67</c:v>
                </c:pt>
                <c:pt idx="527">
                  <c:v>121.85</c:v>
                </c:pt>
                <c:pt idx="528">
                  <c:v>121.25</c:v>
                </c:pt>
                <c:pt idx="529">
                  <c:v>119.9</c:v>
                </c:pt>
                <c:pt idx="530">
                  <c:v>118.62</c:v>
                </c:pt>
                <c:pt idx="531">
                  <c:v>119.34</c:v>
                </c:pt>
                <c:pt idx="532">
                  <c:v>121.64</c:v>
                </c:pt>
                <c:pt idx="533">
                  <c:v>119.04</c:v>
                </c:pt>
                <c:pt idx="534">
                  <c:v>120.26</c:v>
                </c:pt>
                <c:pt idx="535">
                  <c:v>120.59</c:v>
                </c:pt>
                <c:pt idx="536">
                  <c:v>120.58</c:v>
                </c:pt>
                <c:pt idx="537">
                  <c:v>121.5</c:v>
                </c:pt>
                <c:pt idx="538">
                  <c:v>119.71</c:v>
                </c:pt>
                <c:pt idx="539">
                  <c:v>119.3</c:v>
                </c:pt>
                <c:pt idx="540">
                  <c:v>117.01</c:v>
                </c:pt>
                <c:pt idx="541">
                  <c:v>116.41</c:v>
                </c:pt>
                <c:pt idx="542">
                  <c:v>116.78</c:v>
                </c:pt>
                <c:pt idx="543">
                  <c:v>119.56</c:v>
                </c:pt>
                <c:pt idx="544">
                  <c:v>120.9</c:v>
                </c:pt>
                <c:pt idx="545">
                  <c:v>120.58</c:v>
                </c:pt>
                <c:pt idx="546">
                  <c:v>120.59</c:v>
                </c:pt>
                <c:pt idx="547">
                  <c:v>121.35</c:v>
                </c:pt>
                <c:pt idx="548">
                  <c:v>120.91</c:v>
                </c:pt>
                <c:pt idx="549">
                  <c:v>120.55</c:v>
                </c:pt>
                <c:pt idx="550">
                  <c:v>121.73</c:v>
                </c:pt>
                <c:pt idx="551">
                  <c:v>121.86</c:v>
                </c:pt>
                <c:pt idx="552">
                  <c:v>123.82</c:v>
                </c:pt>
                <c:pt idx="553">
                  <c:v>124.53</c:v>
                </c:pt>
                <c:pt idx="554">
                  <c:v>123.91</c:v>
                </c:pt>
                <c:pt idx="555">
                  <c:v>123.01</c:v>
                </c:pt>
                <c:pt idx="556">
                  <c:v>121.13</c:v>
                </c:pt>
                <c:pt idx="557">
                  <c:v>121.02</c:v>
                </c:pt>
                <c:pt idx="558">
                  <c:v>122.67</c:v>
                </c:pt>
                <c:pt idx="559">
                  <c:v>122.08</c:v>
                </c:pt>
                <c:pt idx="560">
                  <c:v>125.33</c:v>
                </c:pt>
                <c:pt idx="561">
                  <c:v>127.15</c:v>
                </c:pt>
                <c:pt idx="562">
                  <c:v>128.44</c:v>
                </c:pt>
                <c:pt idx="563">
                  <c:v>128.43</c:v>
                </c:pt>
                <c:pt idx="564">
                  <c:v>128.24</c:v>
                </c:pt>
                <c:pt idx="565">
                  <c:v>126.97</c:v>
                </c:pt>
                <c:pt idx="566">
                  <c:v>126.51</c:v>
                </c:pt>
                <c:pt idx="567">
                  <c:v>127.58</c:v>
                </c:pt>
                <c:pt idx="568">
                  <c:v>127.59</c:v>
                </c:pt>
                <c:pt idx="569">
                  <c:v>126.24</c:v>
                </c:pt>
                <c:pt idx="570">
                  <c:v>127.95</c:v>
                </c:pt>
                <c:pt idx="571">
                  <c:v>128.19</c:v>
                </c:pt>
                <c:pt idx="572">
                  <c:v>127.87</c:v>
                </c:pt>
                <c:pt idx="573">
                  <c:v>129.30000000000001</c:v>
                </c:pt>
                <c:pt idx="574">
                  <c:v>130.76</c:v>
                </c:pt>
                <c:pt idx="575">
                  <c:v>128.91999999999999</c:v>
                </c:pt>
                <c:pt idx="576">
                  <c:v>125.71</c:v>
                </c:pt>
                <c:pt idx="577">
                  <c:v>125.12</c:v>
                </c:pt>
                <c:pt idx="578">
                  <c:v>125.05</c:v>
                </c:pt>
                <c:pt idx="579">
                  <c:v>128.13999999999999</c:v>
                </c:pt>
                <c:pt idx="580">
                  <c:v>129.76</c:v>
                </c:pt>
                <c:pt idx="581">
                  <c:v>131.82</c:v>
                </c:pt>
                <c:pt idx="582">
                  <c:v>130.54</c:v>
                </c:pt>
                <c:pt idx="583">
                  <c:v>131.15</c:v>
                </c:pt>
                <c:pt idx="584">
                  <c:v>129.51</c:v>
                </c:pt>
                <c:pt idx="585">
                  <c:v>132.65</c:v>
                </c:pt>
                <c:pt idx="586">
                  <c:v>133.26</c:v>
                </c:pt>
                <c:pt idx="587">
                  <c:v>134.26</c:v>
                </c:pt>
                <c:pt idx="588">
                  <c:v>134.65</c:v>
                </c:pt>
                <c:pt idx="589">
                  <c:v>135.19</c:v>
                </c:pt>
                <c:pt idx="590">
                  <c:v>135</c:v>
                </c:pt>
                <c:pt idx="591">
                  <c:v>134.41999999999999</c:v>
                </c:pt>
                <c:pt idx="592">
                  <c:v>135.33000000000001</c:v>
                </c:pt>
                <c:pt idx="593">
                  <c:v>135.34</c:v>
                </c:pt>
                <c:pt idx="594">
                  <c:v>135.77000000000001</c:v>
                </c:pt>
                <c:pt idx="595">
                  <c:v>136.58000000000001</c:v>
                </c:pt>
                <c:pt idx="596">
                  <c:v>135.91999999999999</c:v>
                </c:pt>
                <c:pt idx="597">
                  <c:v>136.46</c:v>
                </c:pt>
                <c:pt idx="598">
                  <c:v>134.82</c:v>
                </c:pt>
                <c:pt idx="599">
                  <c:v>134.03</c:v>
                </c:pt>
                <c:pt idx="600">
                  <c:v>134.19</c:v>
                </c:pt>
                <c:pt idx="601">
                  <c:v>134.79</c:v>
                </c:pt>
                <c:pt idx="602">
                  <c:v>133.85</c:v>
                </c:pt>
                <c:pt idx="603">
                  <c:v>133.69999999999999</c:v>
                </c:pt>
                <c:pt idx="604">
                  <c:v>132.69</c:v>
                </c:pt>
                <c:pt idx="605">
                  <c:v>133.32</c:v>
                </c:pt>
                <c:pt idx="606">
                  <c:v>134.44</c:v>
                </c:pt>
                <c:pt idx="607">
                  <c:v>132.91999999999999</c:v>
                </c:pt>
                <c:pt idx="608">
                  <c:v>133.01</c:v>
                </c:pt>
                <c:pt idx="609">
                  <c:v>136.1</c:v>
                </c:pt>
                <c:pt idx="610">
                  <c:v>136.44</c:v>
                </c:pt>
                <c:pt idx="611">
                  <c:v>136.13999999999999</c:v>
                </c:pt>
                <c:pt idx="612">
                  <c:v>136.58000000000001</c:v>
                </c:pt>
                <c:pt idx="613">
                  <c:v>136.76</c:v>
                </c:pt>
                <c:pt idx="614">
                  <c:v>136.51</c:v>
                </c:pt>
                <c:pt idx="615">
                  <c:v>138.28</c:v>
                </c:pt>
                <c:pt idx="616">
                  <c:v>137.81</c:v>
                </c:pt>
                <c:pt idx="617">
                  <c:v>137.21</c:v>
                </c:pt>
                <c:pt idx="618">
                  <c:v>137.77000000000001</c:v>
                </c:pt>
                <c:pt idx="619">
                  <c:v>137.57</c:v>
                </c:pt>
                <c:pt idx="620">
                  <c:v>138.22</c:v>
                </c:pt>
                <c:pt idx="621">
                  <c:v>137.72</c:v>
                </c:pt>
                <c:pt idx="622">
                  <c:v>138.28</c:v>
                </c:pt>
                <c:pt idx="623">
                  <c:v>135.76</c:v>
                </c:pt>
                <c:pt idx="624">
                  <c:v>136.22999999999999</c:v>
                </c:pt>
                <c:pt idx="625">
                  <c:v>134.63999999999999</c:v>
                </c:pt>
                <c:pt idx="626">
                  <c:v>136.58000000000001</c:v>
                </c:pt>
                <c:pt idx="627">
                  <c:v>136.22</c:v>
                </c:pt>
                <c:pt idx="628">
                  <c:v>136.1</c:v>
                </c:pt>
                <c:pt idx="629">
                  <c:v>136.08000000000001</c:v>
                </c:pt>
                <c:pt idx="630">
                  <c:v>137.47999999999999</c:v>
                </c:pt>
                <c:pt idx="631">
                  <c:v>136.13999999999999</c:v>
                </c:pt>
                <c:pt idx="632">
                  <c:v>135.52000000000001</c:v>
                </c:pt>
                <c:pt idx="633">
                  <c:v>134.80000000000001</c:v>
                </c:pt>
                <c:pt idx="634">
                  <c:v>135.87</c:v>
                </c:pt>
                <c:pt idx="635">
                  <c:v>135.16</c:v>
                </c:pt>
                <c:pt idx="636">
                  <c:v>135.85</c:v>
                </c:pt>
                <c:pt idx="637">
                  <c:v>137.65</c:v>
                </c:pt>
                <c:pt idx="638">
                  <c:v>138.33000000000001</c:v>
                </c:pt>
                <c:pt idx="639">
                  <c:v>138.59</c:v>
                </c:pt>
                <c:pt idx="640">
                  <c:v>137.54</c:v>
                </c:pt>
                <c:pt idx="641">
                  <c:v>136.97</c:v>
                </c:pt>
                <c:pt idx="642">
                  <c:v>134.69</c:v>
                </c:pt>
                <c:pt idx="643">
                  <c:v>135.30000000000001</c:v>
                </c:pt>
                <c:pt idx="644">
                  <c:v>135.66</c:v>
                </c:pt>
                <c:pt idx="645">
                  <c:v>135.80000000000001</c:v>
                </c:pt>
                <c:pt idx="646">
                  <c:v>135.27000000000001</c:v>
                </c:pt>
                <c:pt idx="647">
                  <c:v>136.41999999999999</c:v>
                </c:pt>
                <c:pt idx="648">
                  <c:v>135.69999999999999</c:v>
                </c:pt>
                <c:pt idx="649">
                  <c:v>137.41</c:v>
                </c:pt>
                <c:pt idx="650">
                  <c:v>137.97999999999999</c:v>
                </c:pt>
                <c:pt idx="651">
                  <c:v>137.16</c:v>
                </c:pt>
                <c:pt idx="652">
                  <c:v>137.93</c:v>
                </c:pt>
                <c:pt idx="653">
                  <c:v>136.13</c:v>
                </c:pt>
                <c:pt idx="654">
                  <c:v>135.9</c:v>
                </c:pt>
                <c:pt idx="655">
                  <c:v>135.74</c:v>
                </c:pt>
                <c:pt idx="656">
                  <c:v>135.38</c:v>
                </c:pt>
                <c:pt idx="657">
                  <c:v>135.91</c:v>
                </c:pt>
                <c:pt idx="658">
                  <c:v>134.74</c:v>
                </c:pt>
                <c:pt idx="659">
                  <c:v>133.41999999999999</c:v>
                </c:pt>
                <c:pt idx="660">
                  <c:v>132.09</c:v>
                </c:pt>
                <c:pt idx="661">
                  <c:v>134.97</c:v>
                </c:pt>
                <c:pt idx="662">
                  <c:v>135.41999999999999</c:v>
                </c:pt>
                <c:pt idx="663">
                  <c:v>135.79</c:v>
                </c:pt>
                <c:pt idx="664">
                  <c:v>136.59</c:v>
                </c:pt>
                <c:pt idx="665">
                  <c:v>137.41</c:v>
                </c:pt>
                <c:pt idx="666">
                  <c:v>136.75</c:v>
                </c:pt>
                <c:pt idx="667">
                  <c:v>137.18</c:v>
                </c:pt>
                <c:pt idx="668">
                  <c:v>137.35</c:v>
                </c:pt>
                <c:pt idx="669">
                  <c:v>138.94</c:v>
                </c:pt>
                <c:pt idx="670">
                  <c:v>138.66999999999999</c:v>
                </c:pt>
                <c:pt idx="671">
                  <c:v>138.85</c:v>
                </c:pt>
                <c:pt idx="672">
                  <c:v>138.91999999999999</c:v>
                </c:pt>
                <c:pt idx="673">
                  <c:v>139.27000000000001</c:v>
                </c:pt>
                <c:pt idx="674">
                  <c:v>140.22999999999999</c:v>
                </c:pt>
                <c:pt idx="675">
                  <c:v>140.41</c:v>
                </c:pt>
                <c:pt idx="676">
                  <c:v>140.6</c:v>
                </c:pt>
                <c:pt idx="677">
                  <c:v>141.07</c:v>
                </c:pt>
                <c:pt idx="678">
                  <c:v>141.16</c:v>
                </c:pt>
                <c:pt idx="679">
                  <c:v>140.66</c:v>
                </c:pt>
                <c:pt idx="680">
                  <c:v>140.54</c:v>
                </c:pt>
                <c:pt idx="681">
                  <c:v>140.46</c:v>
                </c:pt>
                <c:pt idx="682">
                  <c:v>141.1</c:v>
                </c:pt>
                <c:pt idx="683">
                  <c:v>141.69999999999999</c:v>
                </c:pt>
                <c:pt idx="684">
                  <c:v>141.78</c:v>
                </c:pt>
                <c:pt idx="685">
                  <c:v>141.35</c:v>
                </c:pt>
                <c:pt idx="686">
                  <c:v>141.13</c:v>
                </c:pt>
                <c:pt idx="687">
                  <c:v>141.19</c:v>
                </c:pt>
                <c:pt idx="688">
                  <c:v>140.27000000000001</c:v>
                </c:pt>
                <c:pt idx="689">
                  <c:v>140.72999999999999</c:v>
                </c:pt>
                <c:pt idx="690">
                  <c:v>143.58000000000001</c:v>
                </c:pt>
                <c:pt idx="691">
                  <c:v>144.35</c:v>
                </c:pt>
                <c:pt idx="692">
                  <c:v>144.85</c:v>
                </c:pt>
                <c:pt idx="693">
                  <c:v>144.25</c:v>
                </c:pt>
                <c:pt idx="694">
                  <c:v>144.06</c:v>
                </c:pt>
                <c:pt idx="695">
                  <c:v>145.05000000000001</c:v>
                </c:pt>
                <c:pt idx="696">
                  <c:v>144.66999999999999</c:v>
                </c:pt>
                <c:pt idx="697">
                  <c:v>144.49</c:v>
                </c:pt>
                <c:pt idx="698">
                  <c:v>143.94999999999999</c:v>
                </c:pt>
                <c:pt idx="699">
                  <c:v>143.96</c:v>
                </c:pt>
                <c:pt idx="700">
                  <c:v>144.02000000000001</c:v>
                </c:pt>
                <c:pt idx="701">
                  <c:v>144.68</c:v>
                </c:pt>
                <c:pt idx="702">
                  <c:v>144.52000000000001</c:v>
                </c:pt>
                <c:pt idx="703">
                  <c:v>144.9</c:v>
                </c:pt>
                <c:pt idx="704">
                  <c:v>144.84</c:v>
                </c:pt>
                <c:pt idx="705">
                  <c:v>145.13999999999999</c:v>
                </c:pt>
                <c:pt idx="706">
                  <c:v>145.52000000000001</c:v>
                </c:pt>
                <c:pt idx="707">
                  <c:v>145.94</c:v>
                </c:pt>
                <c:pt idx="708">
                  <c:v>145.76</c:v>
                </c:pt>
                <c:pt idx="709">
                  <c:v>146.22999999999999</c:v>
                </c:pt>
                <c:pt idx="710">
                  <c:v>145.4</c:v>
                </c:pt>
                <c:pt idx="711">
                  <c:v>144.69</c:v>
                </c:pt>
                <c:pt idx="712">
                  <c:v>145.18</c:v>
                </c:pt>
                <c:pt idx="713">
                  <c:v>143.01</c:v>
                </c:pt>
                <c:pt idx="714">
                  <c:v>143.85</c:v>
                </c:pt>
                <c:pt idx="715">
                  <c:v>143.35</c:v>
                </c:pt>
                <c:pt idx="716">
                  <c:v>143.02000000000001</c:v>
                </c:pt>
                <c:pt idx="717">
                  <c:v>144.77000000000001</c:v>
                </c:pt>
                <c:pt idx="718">
                  <c:v>143.9</c:v>
                </c:pt>
                <c:pt idx="719">
                  <c:v>144.63</c:v>
                </c:pt>
                <c:pt idx="720">
                  <c:v>145.33000000000001</c:v>
                </c:pt>
                <c:pt idx="721">
                  <c:v>145.1</c:v>
                </c:pt>
                <c:pt idx="722">
                  <c:v>144.87</c:v>
                </c:pt>
                <c:pt idx="723">
                  <c:v>144.58000000000001</c:v>
                </c:pt>
                <c:pt idx="724">
                  <c:v>146.21</c:v>
                </c:pt>
                <c:pt idx="725">
                  <c:v>145.80000000000001</c:v>
                </c:pt>
                <c:pt idx="726">
                  <c:v>143.68</c:v>
                </c:pt>
                <c:pt idx="727">
                  <c:v>145.55000000000001</c:v>
                </c:pt>
                <c:pt idx="728">
                  <c:v>145.46</c:v>
                </c:pt>
                <c:pt idx="729">
                  <c:v>143.63</c:v>
                </c:pt>
                <c:pt idx="730">
                  <c:v>144.94999999999999</c:v>
                </c:pt>
                <c:pt idx="731">
                  <c:v>146.34</c:v>
                </c:pt>
                <c:pt idx="732">
                  <c:v>145.88</c:v>
                </c:pt>
                <c:pt idx="733">
                  <c:v>145.82</c:v>
                </c:pt>
                <c:pt idx="734">
                  <c:v>148.44999999999999</c:v>
                </c:pt>
                <c:pt idx="735">
                  <c:v>148.13999999999999</c:v>
                </c:pt>
                <c:pt idx="736">
                  <c:v>148.11000000000001</c:v>
                </c:pt>
                <c:pt idx="737">
                  <c:v>149.31</c:v>
                </c:pt>
                <c:pt idx="738">
                  <c:v>149.16</c:v>
                </c:pt>
                <c:pt idx="739">
                  <c:v>149.22</c:v>
                </c:pt>
                <c:pt idx="740">
                  <c:v>149.28</c:v>
                </c:pt>
                <c:pt idx="741">
                  <c:v>150.9</c:v>
                </c:pt>
                <c:pt idx="742">
                  <c:v>150.37</c:v>
                </c:pt>
                <c:pt idx="743">
                  <c:v>150.07</c:v>
                </c:pt>
                <c:pt idx="744">
                  <c:v>149.43</c:v>
                </c:pt>
                <c:pt idx="745">
                  <c:v>150.01</c:v>
                </c:pt>
                <c:pt idx="746">
                  <c:v>149.03</c:v>
                </c:pt>
                <c:pt idx="747">
                  <c:v>148.83000000000001</c:v>
                </c:pt>
                <c:pt idx="748">
                  <c:v>148.44</c:v>
                </c:pt>
                <c:pt idx="749">
                  <c:v>148.69999999999999</c:v>
                </c:pt>
                <c:pt idx="750">
                  <c:v>148.07</c:v>
                </c:pt>
                <c:pt idx="751">
                  <c:v>148.75</c:v>
                </c:pt>
                <c:pt idx="752">
                  <c:v>150.63999999999999</c:v>
                </c:pt>
                <c:pt idx="753">
                  <c:v>149.29</c:v>
                </c:pt>
                <c:pt idx="754">
                  <c:v>147.75</c:v>
                </c:pt>
                <c:pt idx="755">
                  <c:v>145.44</c:v>
                </c:pt>
                <c:pt idx="756">
                  <c:v>145.77000000000001</c:v>
                </c:pt>
                <c:pt idx="757">
                  <c:v>145.99</c:v>
                </c:pt>
                <c:pt idx="758">
                  <c:v>148.63</c:v>
                </c:pt>
                <c:pt idx="759">
                  <c:v>149.58000000000001</c:v>
                </c:pt>
                <c:pt idx="760">
                  <c:v>148.34</c:v>
                </c:pt>
                <c:pt idx="761">
                  <c:v>147.44</c:v>
                </c:pt>
                <c:pt idx="762">
                  <c:v>146.30000000000001</c:v>
                </c:pt>
                <c:pt idx="763">
                  <c:v>144.09</c:v>
                </c:pt>
                <c:pt idx="764">
                  <c:v>144.1</c:v>
                </c:pt>
                <c:pt idx="765">
                  <c:v>144.91999999999999</c:v>
                </c:pt>
                <c:pt idx="766">
                  <c:v>145.18</c:v>
                </c:pt>
                <c:pt idx="767">
                  <c:v>148.72999999999999</c:v>
                </c:pt>
                <c:pt idx="768">
                  <c:v>149.86000000000001</c:v>
                </c:pt>
                <c:pt idx="769">
                  <c:v>151.04</c:v>
                </c:pt>
                <c:pt idx="770">
                  <c:v>150.63</c:v>
                </c:pt>
                <c:pt idx="771">
                  <c:v>151.52000000000001</c:v>
                </c:pt>
                <c:pt idx="772">
                  <c:v>151.21</c:v>
                </c:pt>
                <c:pt idx="773">
                  <c:v>151.34</c:v>
                </c:pt>
                <c:pt idx="774">
                  <c:v>151.88</c:v>
                </c:pt>
                <c:pt idx="775">
                  <c:v>153.52000000000001</c:v>
                </c:pt>
                <c:pt idx="776">
                  <c:v>153.55000000000001</c:v>
                </c:pt>
                <c:pt idx="777">
                  <c:v>153.97</c:v>
                </c:pt>
                <c:pt idx="778">
                  <c:v>155.09</c:v>
                </c:pt>
                <c:pt idx="779">
                  <c:v>155.22999999999999</c:v>
                </c:pt>
                <c:pt idx="780">
                  <c:v>155.88</c:v>
                </c:pt>
                <c:pt idx="781">
                  <c:v>155.61000000000001</c:v>
                </c:pt>
                <c:pt idx="782">
                  <c:v>156.27000000000001</c:v>
                </c:pt>
                <c:pt idx="783">
                  <c:v>157.6</c:v>
                </c:pt>
                <c:pt idx="784">
                  <c:v>157.58000000000001</c:v>
                </c:pt>
                <c:pt idx="785">
                  <c:v>158.02000000000001</c:v>
                </c:pt>
                <c:pt idx="786">
                  <c:v>158.65</c:v>
                </c:pt>
                <c:pt idx="787">
                  <c:v>158.79</c:v>
                </c:pt>
                <c:pt idx="788">
                  <c:v>159.16999999999999</c:v>
                </c:pt>
                <c:pt idx="789">
                  <c:v>155.79</c:v>
                </c:pt>
                <c:pt idx="790">
                  <c:v>155.49</c:v>
                </c:pt>
                <c:pt idx="791">
                  <c:v>156.01</c:v>
                </c:pt>
                <c:pt idx="792">
                  <c:v>158</c:v>
                </c:pt>
                <c:pt idx="793">
                  <c:v>155.09</c:v>
                </c:pt>
                <c:pt idx="794">
                  <c:v>155.66</c:v>
                </c:pt>
                <c:pt idx="795">
                  <c:v>154.30000000000001</c:v>
                </c:pt>
                <c:pt idx="796">
                  <c:v>153.13</c:v>
                </c:pt>
                <c:pt idx="797">
                  <c:v>153.65</c:v>
                </c:pt>
                <c:pt idx="798">
                  <c:v>151.41999999999999</c:v>
                </c:pt>
                <c:pt idx="799">
                  <c:v>149.66999999999999</c:v>
                </c:pt>
                <c:pt idx="800">
                  <c:v>151.58000000000001</c:v>
                </c:pt>
                <c:pt idx="801">
                  <c:v>151.49</c:v>
                </c:pt>
                <c:pt idx="802">
                  <c:v>149.69999999999999</c:v>
                </c:pt>
                <c:pt idx="803">
                  <c:v>149.28</c:v>
                </c:pt>
                <c:pt idx="804">
                  <c:v>149.19</c:v>
                </c:pt>
                <c:pt idx="805">
                  <c:v>149.51</c:v>
                </c:pt>
                <c:pt idx="806">
                  <c:v>150.6</c:v>
                </c:pt>
                <c:pt idx="807">
                  <c:v>150.47999999999999</c:v>
                </c:pt>
                <c:pt idx="808">
                  <c:v>150.16</c:v>
                </c:pt>
                <c:pt idx="809">
                  <c:v>145.71</c:v>
                </c:pt>
                <c:pt idx="810">
                  <c:v>144.03</c:v>
                </c:pt>
                <c:pt idx="811">
                  <c:v>141.63999999999999</c:v>
                </c:pt>
                <c:pt idx="812">
                  <c:v>143.71</c:v>
                </c:pt>
                <c:pt idx="813">
                  <c:v>146.22</c:v>
                </c:pt>
                <c:pt idx="814">
                  <c:v>147.19</c:v>
                </c:pt>
                <c:pt idx="815">
                  <c:v>146.47999999999999</c:v>
                </c:pt>
                <c:pt idx="816">
                  <c:v>148.16</c:v>
                </c:pt>
                <c:pt idx="817">
                  <c:v>147.57</c:v>
                </c:pt>
                <c:pt idx="818">
                  <c:v>146.75</c:v>
                </c:pt>
                <c:pt idx="819">
                  <c:v>150.19</c:v>
                </c:pt>
                <c:pt idx="820">
                  <c:v>148.21</c:v>
                </c:pt>
                <c:pt idx="821">
                  <c:v>150.30000000000001</c:v>
                </c:pt>
                <c:pt idx="822">
                  <c:v>151.44</c:v>
                </c:pt>
                <c:pt idx="823">
                  <c:v>151.59</c:v>
                </c:pt>
                <c:pt idx="824">
                  <c:v>152.46</c:v>
                </c:pt>
                <c:pt idx="825">
                  <c:v>152.29</c:v>
                </c:pt>
                <c:pt idx="826">
                  <c:v>152.93</c:v>
                </c:pt>
                <c:pt idx="827">
                  <c:v>151.86000000000001</c:v>
                </c:pt>
                <c:pt idx="828">
                  <c:v>152.76</c:v>
                </c:pt>
                <c:pt idx="829">
                  <c:v>154.16</c:v>
                </c:pt>
                <c:pt idx="830">
                  <c:v>154.21</c:v>
                </c:pt>
                <c:pt idx="831">
                  <c:v>154.44</c:v>
                </c:pt>
                <c:pt idx="832">
                  <c:v>154</c:v>
                </c:pt>
                <c:pt idx="833">
                  <c:v>154.86000000000001</c:v>
                </c:pt>
                <c:pt idx="834">
                  <c:v>154.11000000000001</c:v>
                </c:pt>
                <c:pt idx="835">
                  <c:v>153.74</c:v>
                </c:pt>
                <c:pt idx="836">
                  <c:v>153.82</c:v>
                </c:pt>
                <c:pt idx="837">
                  <c:v>154.01</c:v>
                </c:pt>
                <c:pt idx="838">
                  <c:v>154.1</c:v>
                </c:pt>
                <c:pt idx="839">
                  <c:v>156.01</c:v>
                </c:pt>
                <c:pt idx="840">
                  <c:v>156.46</c:v>
                </c:pt>
                <c:pt idx="841">
                  <c:v>156.76</c:v>
                </c:pt>
                <c:pt idx="842">
                  <c:v>156.12</c:v>
                </c:pt>
                <c:pt idx="843">
                  <c:v>155.88999999999999</c:v>
                </c:pt>
                <c:pt idx="844">
                  <c:v>156.59</c:v>
                </c:pt>
                <c:pt idx="845">
                  <c:v>157.5</c:v>
                </c:pt>
                <c:pt idx="846">
                  <c:v>157.58000000000001</c:v>
                </c:pt>
                <c:pt idx="847">
                  <c:v>158.46</c:v>
                </c:pt>
                <c:pt idx="848">
                  <c:v>159.02000000000001</c:v>
                </c:pt>
                <c:pt idx="849">
                  <c:v>157.34</c:v>
                </c:pt>
                <c:pt idx="850">
                  <c:v>157.87</c:v>
                </c:pt>
                <c:pt idx="851">
                  <c:v>157.05000000000001</c:v>
                </c:pt>
                <c:pt idx="852">
                  <c:v>155.75</c:v>
                </c:pt>
                <c:pt idx="853">
                  <c:v>154.97999999999999</c:v>
                </c:pt>
                <c:pt idx="854">
                  <c:v>156.49</c:v>
                </c:pt>
                <c:pt idx="855">
                  <c:v>157.1</c:v>
                </c:pt>
                <c:pt idx="856">
                  <c:v>156.97999999999999</c:v>
                </c:pt>
                <c:pt idx="857">
                  <c:v>154.15</c:v>
                </c:pt>
                <c:pt idx="858">
                  <c:v>153.6</c:v>
                </c:pt>
                <c:pt idx="859">
                  <c:v>154.76</c:v>
                </c:pt>
                <c:pt idx="860">
                  <c:v>153.31</c:v>
                </c:pt>
                <c:pt idx="861">
                  <c:v>156.19999999999999</c:v>
                </c:pt>
                <c:pt idx="862">
                  <c:v>155.61000000000001</c:v>
                </c:pt>
                <c:pt idx="863">
                  <c:v>155.94</c:v>
                </c:pt>
                <c:pt idx="864">
                  <c:v>157.09</c:v>
                </c:pt>
                <c:pt idx="865">
                  <c:v>157.88</c:v>
                </c:pt>
                <c:pt idx="866">
                  <c:v>157.75</c:v>
                </c:pt>
                <c:pt idx="867">
                  <c:v>159.79</c:v>
                </c:pt>
                <c:pt idx="868">
                  <c:v>160.36000000000001</c:v>
                </c:pt>
                <c:pt idx="869">
                  <c:v>160.29</c:v>
                </c:pt>
                <c:pt idx="870">
                  <c:v>160.66</c:v>
                </c:pt>
                <c:pt idx="871">
                  <c:v>161.68</c:v>
                </c:pt>
                <c:pt idx="872">
                  <c:v>160.91999999999999</c:v>
                </c:pt>
                <c:pt idx="873">
                  <c:v>161.61000000000001</c:v>
                </c:pt>
                <c:pt idx="874">
                  <c:v>162.52000000000001</c:v>
                </c:pt>
                <c:pt idx="875">
                  <c:v>162.09</c:v>
                </c:pt>
                <c:pt idx="876">
                  <c:v>161.30000000000001</c:v>
                </c:pt>
                <c:pt idx="877">
                  <c:v>161.62</c:v>
                </c:pt>
                <c:pt idx="878">
                  <c:v>161.55000000000001</c:v>
                </c:pt>
                <c:pt idx="879">
                  <c:v>161.55000000000001</c:v>
                </c:pt>
                <c:pt idx="880">
                  <c:v>161.12</c:v>
                </c:pt>
                <c:pt idx="881">
                  <c:v>160.24</c:v>
                </c:pt>
                <c:pt idx="882">
                  <c:v>161.47999999999999</c:v>
                </c:pt>
                <c:pt idx="883">
                  <c:v>160.41999999999999</c:v>
                </c:pt>
                <c:pt idx="884">
                  <c:v>159.78</c:v>
                </c:pt>
                <c:pt idx="885">
                  <c:v>159.96</c:v>
                </c:pt>
                <c:pt idx="886">
                  <c:v>159.59</c:v>
                </c:pt>
                <c:pt idx="887">
                  <c:v>158.38</c:v>
                </c:pt>
                <c:pt idx="888">
                  <c:v>157.54</c:v>
                </c:pt>
                <c:pt idx="889">
                  <c:v>160.19</c:v>
                </c:pt>
                <c:pt idx="890">
                  <c:v>160.88</c:v>
                </c:pt>
                <c:pt idx="891">
                  <c:v>161.19</c:v>
                </c:pt>
                <c:pt idx="892">
                  <c:v>162.54</c:v>
                </c:pt>
                <c:pt idx="893">
                  <c:v>162.94999999999999</c:v>
                </c:pt>
                <c:pt idx="894">
                  <c:v>163.16999999999999</c:v>
                </c:pt>
                <c:pt idx="895">
                  <c:v>164.46</c:v>
                </c:pt>
                <c:pt idx="896">
                  <c:v>165.02</c:v>
                </c:pt>
                <c:pt idx="897">
                  <c:v>165.75</c:v>
                </c:pt>
                <c:pt idx="898">
                  <c:v>164.78</c:v>
                </c:pt>
                <c:pt idx="899">
                  <c:v>165.5</c:v>
                </c:pt>
                <c:pt idx="900">
                  <c:v>165.35</c:v>
                </c:pt>
                <c:pt idx="901">
                  <c:v>165.04</c:v>
                </c:pt>
                <c:pt idx="902">
                  <c:v>165.7</c:v>
                </c:pt>
                <c:pt idx="903">
                  <c:v>165.72</c:v>
                </c:pt>
                <c:pt idx="904">
                  <c:v>166.54</c:v>
                </c:pt>
                <c:pt idx="905">
                  <c:v>166.08</c:v>
                </c:pt>
                <c:pt idx="906">
                  <c:v>166.6</c:v>
                </c:pt>
                <c:pt idx="907">
                  <c:v>166.29</c:v>
                </c:pt>
                <c:pt idx="908">
                  <c:v>167.08</c:v>
                </c:pt>
                <c:pt idx="909">
                  <c:v>167.07</c:v>
                </c:pt>
                <c:pt idx="910">
                  <c:v>166.81</c:v>
                </c:pt>
                <c:pt idx="911">
                  <c:v>167.25</c:v>
                </c:pt>
                <c:pt idx="912">
                  <c:v>166.27</c:v>
                </c:pt>
                <c:pt idx="913">
                  <c:v>165.39</c:v>
                </c:pt>
                <c:pt idx="914">
                  <c:v>166.74</c:v>
                </c:pt>
                <c:pt idx="915">
                  <c:v>167.05</c:v>
                </c:pt>
                <c:pt idx="916">
                  <c:v>167.94</c:v>
                </c:pt>
                <c:pt idx="917">
                  <c:v>166.83</c:v>
                </c:pt>
                <c:pt idx="918">
                  <c:v>167.07</c:v>
                </c:pt>
                <c:pt idx="919">
                  <c:v>166.82</c:v>
                </c:pt>
                <c:pt idx="920">
                  <c:v>167</c:v>
                </c:pt>
                <c:pt idx="921">
                  <c:v>167.73</c:v>
                </c:pt>
                <c:pt idx="922">
                  <c:v>166.73</c:v>
                </c:pt>
                <c:pt idx="923">
                  <c:v>167.66</c:v>
                </c:pt>
                <c:pt idx="924">
                  <c:v>168.26</c:v>
                </c:pt>
                <c:pt idx="925">
                  <c:v>168.25</c:v>
                </c:pt>
                <c:pt idx="926">
                  <c:v>167.7</c:v>
                </c:pt>
                <c:pt idx="927">
                  <c:v>165.13</c:v>
                </c:pt>
                <c:pt idx="928">
                  <c:v>164.19</c:v>
                </c:pt>
                <c:pt idx="929">
                  <c:v>162.72999999999999</c:v>
                </c:pt>
                <c:pt idx="930">
                  <c:v>163.82</c:v>
                </c:pt>
                <c:pt idx="931">
                  <c:v>164.16</c:v>
                </c:pt>
                <c:pt idx="932">
                  <c:v>163</c:v>
                </c:pt>
                <c:pt idx="933">
                  <c:v>162.18</c:v>
                </c:pt>
                <c:pt idx="934">
                  <c:v>160.59</c:v>
                </c:pt>
                <c:pt idx="935">
                  <c:v>160.34</c:v>
                </c:pt>
                <c:pt idx="936">
                  <c:v>162.38</c:v>
                </c:pt>
                <c:pt idx="937">
                  <c:v>161.16999999999999</c:v>
                </c:pt>
                <c:pt idx="938">
                  <c:v>162.57</c:v>
                </c:pt>
                <c:pt idx="939">
                  <c:v>165.39</c:v>
                </c:pt>
                <c:pt idx="940">
                  <c:v>166.27</c:v>
                </c:pt>
                <c:pt idx="941">
                  <c:v>167.46</c:v>
                </c:pt>
                <c:pt idx="942">
                  <c:v>167.88</c:v>
                </c:pt>
                <c:pt idx="943">
                  <c:v>169.68</c:v>
                </c:pt>
                <c:pt idx="944">
                  <c:v>169.39</c:v>
                </c:pt>
                <c:pt idx="945">
                  <c:v>169.98</c:v>
                </c:pt>
                <c:pt idx="946">
                  <c:v>168.73</c:v>
                </c:pt>
                <c:pt idx="947">
                  <c:v>169.67</c:v>
                </c:pt>
                <c:pt idx="948">
                  <c:v>169.33</c:v>
                </c:pt>
                <c:pt idx="949">
                  <c:v>170.58</c:v>
                </c:pt>
                <c:pt idx="950">
                  <c:v>170.76</c:v>
                </c:pt>
                <c:pt idx="951">
                  <c:v>170.07</c:v>
                </c:pt>
                <c:pt idx="952">
                  <c:v>170.87</c:v>
                </c:pt>
                <c:pt idx="953">
                  <c:v>171.28</c:v>
                </c:pt>
                <c:pt idx="954">
                  <c:v>171.54</c:v>
                </c:pt>
                <c:pt idx="955">
                  <c:v>173.3</c:v>
                </c:pt>
                <c:pt idx="956">
                  <c:v>173.03</c:v>
                </c:pt>
                <c:pt idx="957">
                  <c:v>173.98</c:v>
                </c:pt>
                <c:pt idx="958">
                  <c:v>173.82</c:v>
                </c:pt>
                <c:pt idx="959">
                  <c:v>173.95</c:v>
                </c:pt>
                <c:pt idx="960">
                  <c:v>174.13</c:v>
                </c:pt>
                <c:pt idx="961">
                  <c:v>172.38</c:v>
                </c:pt>
                <c:pt idx="962">
                  <c:v>168.27</c:v>
                </c:pt>
                <c:pt idx="963">
                  <c:v>166.86</c:v>
                </c:pt>
                <c:pt idx="964">
                  <c:v>167.99</c:v>
                </c:pt>
                <c:pt idx="965">
                  <c:v>167.09</c:v>
                </c:pt>
                <c:pt idx="966">
                  <c:v>167.58</c:v>
                </c:pt>
                <c:pt idx="967">
                  <c:v>167.17</c:v>
                </c:pt>
                <c:pt idx="968">
                  <c:v>164.93</c:v>
                </c:pt>
                <c:pt idx="969">
                  <c:v>164.61</c:v>
                </c:pt>
                <c:pt idx="970">
                  <c:v>164.87</c:v>
                </c:pt>
                <c:pt idx="971">
                  <c:v>167.32</c:v>
                </c:pt>
                <c:pt idx="972">
                  <c:v>168.52</c:v>
                </c:pt>
                <c:pt idx="973">
                  <c:v>168.63</c:v>
                </c:pt>
                <c:pt idx="974">
                  <c:v>170.82</c:v>
                </c:pt>
                <c:pt idx="975">
                  <c:v>172.16</c:v>
                </c:pt>
                <c:pt idx="976">
                  <c:v>171.9</c:v>
                </c:pt>
                <c:pt idx="977">
                  <c:v>172.85</c:v>
                </c:pt>
                <c:pt idx="978">
                  <c:v>173.49</c:v>
                </c:pt>
                <c:pt idx="979">
                  <c:v>173.52</c:v>
                </c:pt>
                <c:pt idx="980">
                  <c:v>173.81</c:v>
                </c:pt>
                <c:pt idx="981">
                  <c:v>173.72</c:v>
                </c:pt>
                <c:pt idx="982">
                  <c:v>174.4</c:v>
                </c:pt>
                <c:pt idx="983">
                  <c:v>175.49</c:v>
                </c:pt>
                <c:pt idx="984">
                  <c:v>175.6</c:v>
                </c:pt>
                <c:pt idx="985">
                  <c:v>175.26</c:v>
                </c:pt>
                <c:pt idx="986">
                  <c:v>175.1</c:v>
                </c:pt>
                <c:pt idx="987">
                  <c:v>175.52</c:v>
                </c:pt>
                <c:pt idx="988">
                  <c:v>171.54</c:v>
                </c:pt>
                <c:pt idx="989">
                  <c:v>175.07</c:v>
                </c:pt>
                <c:pt idx="990">
                  <c:v>175.09</c:v>
                </c:pt>
                <c:pt idx="991">
                  <c:v>175.28</c:v>
                </c:pt>
                <c:pt idx="992">
                  <c:v>173.09</c:v>
                </c:pt>
                <c:pt idx="993">
                  <c:v>172.23</c:v>
                </c:pt>
                <c:pt idx="994">
                  <c:v>172.27</c:v>
                </c:pt>
                <c:pt idx="995">
                  <c:v>170.59</c:v>
                </c:pt>
                <c:pt idx="996">
                  <c:v>168.8</c:v>
                </c:pt>
                <c:pt idx="997">
                  <c:v>167.61</c:v>
                </c:pt>
                <c:pt idx="998">
                  <c:v>169.49</c:v>
                </c:pt>
                <c:pt idx="999">
                  <c:v>170.58</c:v>
                </c:pt>
                <c:pt idx="1000">
                  <c:v>170.45</c:v>
                </c:pt>
                <c:pt idx="1001">
                  <c:v>170.5</c:v>
                </c:pt>
                <c:pt idx="1002">
                  <c:v>170.67</c:v>
                </c:pt>
                <c:pt idx="1003">
                  <c:v>168.88</c:v>
                </c:pt>
                <c:pt idx="1004">
                  <c:v>171.05</c:v>
                </c:pt>
                <c:pt idx="1005">
                  <c:v>172.32</c:v>
                </c:pt>
                <c:pt idx="1006">
                  <c:v>172.59</c:v>
                </c:pt>
                <c:pt idx="1007">
                  <c:v>173.82</c:v>
                </c:pt>
                <c:pt idx="1008">
                  <c:v>174.13</c:v>
                </c:pt>
                <c:pt idx="1009">
                  <c:v>175.2</c:v>
                </c:pt>
                <c:pt idx="1010">
                  <c:v>175.53</c:v>
                </c:pt>
                <c:pt idx="1011">
                  <c:v>175.73</c:v>
                </c:pt>
                <c:pt idx="1012">
                  <c:v>176.79</c:v>
                </c:pt>
                <c:pt idx="1013">
                  <c:v>174.61</c:v>
                </c:pt>
                <c:pt idx="1014">
                  <c:v>174.05</c:v>
                </c:pt>
                <c:pt idx="1015">
                  <c:v>174.76</c:v>
                </c:pt>
                <c:pt idx="1016">
                  <c:v>173.9</c:v>
                </c:pt>
                <c:pt idx="1017">
                  <c:v>171.49</c:v>
                </c:pt>
                <c:pt idx="1018">
                  <c:v>172.18</c:v>
                </c:pt>
                <c:pt idx="1019">
                  <c:v>170.53</c:v>
                </c:pt>
                <c:pt idx="1020">
                  <c:v>172.78</c:v>
                </c:pt>
                <c:pt idx="1021">
                  <c:v>173.64</c:v>
                </c:pt>
                <c:pt idx="1022">
                  <c:v>176.08</c:v>
                </c:pt>
                <c:pt idx="1023">
                  <c:v>175.12</c:v>
                </c:pt>
                <c:pt idx="1024">
                  <c:v>175.71</c:v>
                </c:pt>
                <c:pt idx="1025">
                  <c:v>174.38</c:v>
                </c:pt>
                <c:pt idx="1026">
                  <c:v>174.73</c:v>
                </c:pt>
                <c:pt idx="1027">
                  <c:v>176.83</c:v>
                </c:pt>
                <c:pt idx="1028">
                  <c:v>176.86</c:v>
                </c:pt>
                <c:pt idx="1029">
                  <c:v>177.17</c:v>
                </c:pt>
                <c:pt idx="1030">
                  <c:v>176.9</c:v>
                </c:pt>
                <c:pt idx="1031">
                  <c:v>176.58</c:v>
                </c:pt>
                <c:pt idx="1032">
                  <c:v>176.14</c:v>
                </c:pt>
                <c:pt idx="1033">
                  <c:v>176.26</c:v>
                </c:pt>
                <c:pt idx="1034">
                  <c:v>178.18</c:v>
                </c:pt>
                <c:pt idx="1035">
                  <c:v>177.67</c:v>
                </c:pt>
                <c:pt idx="1036">
                  <c:v>179.06</c:v>
                </c:pt>
                <c:pt idx="1037">
                  <c:v>179.58</c:v>
                </c:pt>
                <c:pt idx="1038">
                  <c:v>179.57</c:v>
                </c:pt>
                <c:pt idx="1039">
                  <c:v>177.98</c:v>
                </c:pt>
                <c:pt idx="1040">
                  <c:v>178.33</c:v>
                </c:pt>
                <c:pt idx="1041">
                  <c:v>178.18</c:v>
                </c:pt>
                <c:pt idx="1042">
                  <c:v>178.12</c:v>
                </c:pt>
                <c:pt idx="1043">
                  <c:v>179.24</c:v>
                </c:pt>
                <c:pt idx="1044">
                  <c:v>179.62</c:v>
                </c:pt>
                <c:pt idx="1045">
                  <c:v>180.04</c:v>
                </c:pt>
                <c:pt idx="1046">
                  <c:v>181.08</c:v>
                </c:pt>
                <c:pt idx="1047">
                  <c:v>181.51</c:v>
                </c:pt>
                <c:pt idx="1048">
                  <c:v>181.46</c:v>
                </c:pt>
                <c:pt idx="1049">
                  <c:v>181.59</c:v>
                </c:pt>
                <c:pt idx="1050">
                  <c:v>181.46</c:v>
                </c:pt>
                <c:pt idx="1051">
                  <c:v>181.95</c:v>
                </c:pt>
                <c:pt idx="1052">
                  <c:v>181.12</c:v>
                </c:pt>
                <c:pt idx="1053">
                  <c:v>181.21</c:v>
                </c:pt>
                <c:pt idx="1054">
                  <c:v>181.96</c:v>
                </c:pt>
                <c:pt idx="1055">
                  <c:v>183.18</c:v>
                </c:pt>
                <c:pt idx="1056">
                  <c:v>183.88</c:v>
                </c:pt>
                <c:pt idx="1057">
                  <c:v>184.46</c:v>
                </c:pt>
                <c:pt idx="1058">
                  <c:v>183.51</c:v>
                </c:pt>
                <c:pt idx="1059">
                  <c:v>183.56</c:v>
                </c:pt>
                <c:pt idx="1060">
                  <c:v>183.16</c:v>
                </c:pt>
                <c:pt idx="1061">
                  <c:v>182.34</c:v>
                </c:pt>
                <c:pt idx="1062">
                  <c:v>182.82</c:v>
                </c:pt>
                <c:pt idx="1063">
                  <c:v>182.68</c:v>
                </c:pt>
                <c:pt idx="1064">
                  <c:v>183.76</c:v>
                </c:pt>
                <c:pt idx="1065">
                  <c:v>183.73</c:v>
                </c:pt>
                <c:pt idx="1066">
                  <c:v>182.82</c:v>
                </c:pt>
                <c:pt idx="1067">
                  <c:v>182.42</c:v>
                </c:pt>
                <c:pt idx="1068">
                  <c:v>180.54</c:v>
                </c:pt>
                <c:pt idx="1069">
                  <c:v>180.5</c:v>
                </c:pt>
                <c:pt idx="1070">
                  <c:v>180.56</c:v>
                </c:pt>
                <c:pt idx="1071">
                  <c:v>180.51</c:v>
                </c:pt>
                <c:pt idx="1072">
                  <c:v>182.12</c:v>
                </c:pt>
                <c:pt idx="1073">
                  <c:v>182.56</c:v>
                </c:pt>
                <c:pt idx="1074">
                  <c:v>184.29</c:v>
                </c:pt>
                <c:pt idx="1075">
                  <c:v>183.78</c:v>
                </c:pt>
                <c:pt idx="1076">
                  <c:v>182.12</c:v>
                </c:pt>
                <c:pt idx="1077">
                  <c:v>179.58</c:v>
                </c:pt>
                <c:pt idx="1078">
                  <c:v>179.57</c:v>
                </c:pt>
                <c:pt idx="1079">
                  <c:v>177.68</c:v>
                </c:pt>
                <c:pt idx="1080">
                  <c:v>177.97</c:v>
                </c:pt>
                <c:pt idx="1081">
                  <c:v>179.49</c:v>
                </c:pt>
                <c:pt idx="1082">
                  <c:v>178.8</c:v>
                </c:pt>
                <c:pt idx="1083">
                  <c:v>181.22</c:v>
                </c:pt>
                <c:pt idx="1084">
                  <c:v>179.52</c:v>
                </c:pt>
                <c:pt idx="1085">
                  <c:v>179.47</c:v>
                </c:pt>
                <c:pt idx="1086">
                  <c:v>178.57</c:v>
                </c:pt>
                <c:pt idx="1087">
                  <c:v>180.94</c:v>
                </c:pt>
                <c:pt idx="1088">
                  <c:v>181.18</c:v>
                </c:pt>
                <c:pt idx="1089">
                  <c:v>181.96</c:v>
                </c:pt>
                <c:pt idx="1090">
                  <c:v>180.7</c:v>
                </c:pt>
                <c:pt idx="1091">
                  <c:v>180.38</c:v>
                </c:pt>
                <c:pt idx="1092">
                  <c:v>180.88</c:v>
                </c:pt>
                <c:pt idx="1093">
                  <c:v>179.91</c:v>
                </c:pt>
                <c:pt idx="1094">
                  <c:v>177.56</c:v>
                </c:pt>
                <c:pt idx="1095">
                  <c:v>175.4</c:v>
                </c:pt>
                <c:pt idx="1096">
                  <c:v>175.01</c:v>
                </c:pt>
                <c:pt idx="1097">
                  <c:v>175.5</c:v>
                </c:pt>
                <c:pt idx="1098">
                  <c:v>174.1</c:v>
                </c:pt>
                <c:pt idx="1099">
                  <c:v>172.93</c:v>
                </c:pt>
                <c:pt idx="1100">
                  <c:v>171.84</c:v>
                </c:pt>
                <c:pt idx="1101">
                  <c:v>174.2</c:v>
                </c:pt>
                <c:pt idx="1102">
                  <c:v>173.87</c:v>
                </c:pt>
                <c:pt idx="1103">
                  <c:v>174.71</c:v>
                </c:pt>
                <c:pt idx="1104">
                  <c:v>175.25</c:v>
                </c:pt>
                <c:pt idx="1105">
                  <c:v>174.55</c:v>
                </c:pt>
                <c:pt idx="1106">
                  <c:v>176.61</c:v>
                </c:pt>
                <c:pt idx="1107">
                  <c:v>177.61</c:v>
                </c:pt>
                <c:pt idx="1108">
                  <c:v>177.59</c:v>
                </c:pt>
                <c:pt idx="1109">
                  <c:v>178.76</c:v>
                </c:pt>
                <c:pt idx="1110">
                  <c:v>178.37</c:v>
                </c:pt>
                <c:pt idx="1111">
                  <c:v>180.33</c:v>
                </c:pt>
                <c:pt idx="1112">
                  <c:v>181.66</c:v>
                </c:pt>
                <c:pt idx="1113">
                  <c:v>181.88</c:v>
                </c:pt>
                <c:pt idx="1114">
                  <c:v>180.67</c:v>
                </c:pt>
                <c:pt idx="1115">
                  <c:v>181.17</c:v>
                </c:pt>
                <c:pt idx="1116">
                  <c:v>181.63</c:v>
                </c:pt>
                <c:pt idx="1117">
                  <c:v>181.57</c:v>
                </c:pt>
                <c:pt idx="1118">
                  <c:v>182.79</c:v>
                </c:pt>
                <c:pt idx="1119">
                  <c:v>184.88</c:v>
                </c:pt>
                <c:pt idx="1120">
                  <c:v>184.18</c:v>
                </c:pt>
                <c:pt idx="1121">
                  <c:v>183.39</c:v>
                </c:pt>
                <c:pt idx="1122">
                  <c:v>182.75</c:v>
                </c:pt>
                <c:pt idx="1123">
                  <c:v>182.67</c:v>
                </c:pt>
                <c:pt idx="1124">
                  <c:v>182.44</c:v>
                </c:pt>
                <c:pt idx="1125">
                  <c:v>182.44</c:v>
                </c:pt>
                <c:pt idx="1126">
                  <c:v>182.25</c:v>
                </c:pt>
                <c:pt idx="1127">
                  <c:v>181.69</c:v>
                </c:pt>
                <c:pt idx="1128">
                  <c:v>182.51</c:v>
                </c:pt>
                <c:pt idx="1129">
                  <c:v>184.31</c:v>
                </c:pt>
                <c:pt idx="1130">
                  <c:v>184.71</c:v>
                </c:pt>
                <c:pt idx="1131">
                  <c:v>183.77</c:v>
                </c:pt>
                <c:pt idx="1132">
                  <c:v>181.25</c:v>
                </c:pt>
                <c:pt idx="1133">
                  <c:v>182.57</c:v>
                </c:pt>
                <c:pt idx="1134">
                  <c:v>181.02</c:v>
                </c:pt>
                <c:pt idx="1135">
                  <c:v>181.48</c:v>
                </c:pt>
                <c:pt idx="1136">
                  <c:v>180.8</c:v>
                </c:pt>
                <c:pt idx="1137">
                  <c:v>181.91</c:v>
                </c:pt>
                <c:pt idx="1138">
                  <c:v>180.4</c:v>
                </c:pt>
                <c:pt idx="1139">
                  <c:v>176.07</c:v>
                </c:pt>
                <c:pt idx="1140">
                  <c:v>177.73</c:v>
                </c:pt>
                <c:pt idx="1141">
                  <c:v>178.16</c:v>
                </c:pt>
                <c:pt idx="1142">
                  <c:v>175.43</c:v>
                </c:pt>
                <c:pt idx="1143">
                  <c:v>173.92</c:v>
                </c:pt>
                <c:pt idx="1144">
                  <c:v>173.24</c:v>
                </c:pt>
                <c:pt idx="1145">
                  <c:v>170.56</c:v>
                </c:pt>
                <c:pt idx="1146">
                  <c:v>170.54</c:v>
                </c:pt>
                <c:pt idx="1147">
                  <c:v>170.53</c:v>
                </c:pt>
                <c:pt idx="1148">
                  <c:v>165.13</c:v>
                </c:pt>
                <c:pt idx="1149">
                  <c:v>164.43</c:v>
                </c:pt>
                <c:pt idx="1150">
                  <c:v>169.02</c:v>
                </c:pt>
                <c:pt idx="1151">
                  <c:v>168.17</c:v>
                </c:pt>
                <c:pt idx="1152">
                  <c:v>171.74</c:v>
                </c:pt>
                <c:pt idx="1153">
                  <c:v>173</c:v>
                </c:pt>
                <c:pt idx="1154">
                  <c:v>174.2</c:v>
                </c:pt>
                <c:pt idx="1155">
                  <c:v>173.63</c:v>
                </c:pt>
                <c:pt idx="1156">
                  <c:v>172.53</c:v>
                </c:pt>
                <c:pt idx="1157">
                  <c:v>174.2</c:v>
                </c:pt>
                <c:pt idx="1158">
                  <c:v>174.48</c:v>
                </c:pt>
                <c:pt idx="1159">
                  <c:v>175.51</c:v>
                </c:pt>
                <c:pt idx="1160">
                  <c:v>178.75</c:v>
                </c:pt>
                <c:pt idx="1161">
                  <c:v>177.4</c:v>
                </c:pt>
                <c:pt idx="1162">
                  <c:v>175.61</c:v>
                </c:pt>
                <c:pt idx="1163">
                  <c:v>178.52</c:v>
                </c:pt>
                <c:pt idx="1164">
                  <c:v>179</c:v>
                </c:pt>
                <c:pt idx="1165">
                  <c:v>178.03</c:v>
                </c:pt>
                <c:pt idx="1166">
                  <c:v>179.33</c:v>
                </c:pt>
                <c:pt idx="1167">
                  <c:v>179.99</c:v>
                </c:pt>
                <c:pt idx="1168">
                  <c:v>177.97</c:v>
                </c:pt>
                <c:pt idx="1169">
                  <c:v>178.42</c:v>
                </c:pt>
                <c:pt idx="1170">
                  <c:v>178.3</c:v>
                </c:pt>
                <c:pt idx="1171">
                  <c:v>179.17</c:v>
                </c:pt>
                <c:pt idx="1172">
                  <c:v>180.25</c:v>
                </c:pt>
                <c:pt idx="1173">
                  <c:v>180.2</c:v>
                </c:pt>
                <c:pt idx="1174">
                  <c:v>179.8</c:v>
                </c:pt>
                <c:pt idx="1175">
                  <c:v>183.49</c:v>
                </c:pt>
                <c:pt idx="1176">
                  <c:v>183.75</c:v>
                </c:pt>
                <c:pt idx="1177">
                  <c:v>184.06</c:v>
                </c:pt>
                <c:pt idx="1178">
                  <c:v>184.05</c:v>
                </c:pt>
                <c:pt idx="1179">
                  <c:v>184.71</c:v>
                </c:pt>
                <c:pt idx="1180">
                  <c:v>184.58</c:v>
                </c:pt>
                <c:pt idx="1181">
                  <c:v>183.73</c:v>
                </c:pt>
                <c:pt idx="1182">
                  <c:v>184.67</c:v>
                </c:pt>
                <c:pt idx="1183">
                  <c:v>185.71</c:v>
                </c:pt>
                <c:pt idx="1184">
                  <c:v>183.33</c:v>
                </c:pt>
                <c:pt idx="1185">
                  <c:v>186.6</c:v>
                </c:pt>
                <c:pt idx="1186">
                  <c:v>185.35</c:v>
                </c:pt>
                <c:pt idx="1187">
                  <c:v>181.03</c:v>
                </c:pt>
                <c:pt idx="1188">
                  <c:v>180.41</c:v>
                </c:pt>
                <c:pt idx="1189">
                  <c:v>180.42</c:v>
                </c:pt>
                <c:pt idx="1190">
                  <c:v>175.76</c:v>
                </c:pt>
                <c:pt idx="1191">
                  <c:v>171.94</c:v>
                </c:pt>
                <c:pt idx="1192">
                  <c:v>174.91</c:v>
                </c:pt>
                <c:pt idx="1193">
                  <c:v>175.15</c:v>
                </c:pt>
                <c:pt idx="1194">
                  <c:v>180.33</c:v>
                </c:pt>
                <c:pt idx="1195">
                  <c:v>180.99</c:v>
                </c:pt>
                <c:pt idx="1196">
                  <c:v>181.9</c:v>
                </c:pt>
                <c:pt idx="1197">
                  <c:v>183.02</c:v>
                </c:pt>
                <c:pt idx="1198">
                  <c:v>182.92</c:v>
                </c:pt>
                <c:pt idx="1199">
                  <c:v>183.14</c:v>
                </c:pt>
                <c:pt idx="1200">
                  <c:v>181.41</c:v>
                </c:pt>
                <c:pt idx="1201">
                  <c:v>182.22</c:v>
                </c:pt>
                <c:pt idx="1202">
                  <c:v>181.58</c:v>
                </c:pt>
                <c:pt idx="1203">
                  <c:v>177.68</c:v>
                </c:pt>
                <c:pt idx="1204">
                  <c:v>176.42</c:v>
                </c:pt>
                <c:pt idx="1205">
                  <c:v>177.26</c:v>
                </c:pt>
                <c:pt idx="1206">
                  <c:v>182.14</c:v>
                </c:pt>
                <c:pt idx="1207">
                  <c:v>179.78</c:v>
                </c:pt>
                <c:pt idx="1208">
                  <c:v>180.82</c:v>
                </c:pt>
                <c:pt idx="1209">
                  <c:v>183.43</c:v>
                </c:pt>
                <c:pt idx="1210">
                  <c:v>180.75</c:v>
                </c:pt>
                <c:pt idx="1211">
                  <c:v>185.45</c:v>
                </c:pt>
                <c:pt idx="1212">
                  <c:v>187.55</c:v>
                </c:pt>
                <c:pt idx="1213">
                  <c:v>187.97</c:v>
                </c:pt>
                <c:pt idx="1214">
                  <c:v>189.45</c:v>
                </c:pt>
                <c:pt idx="1215">
                  <c:v>190.6</c:v>
                </c:pt>
                <c:pt idx="1216">
                  <c:v>193.78</c:v>
                </c:pt>
                <c:pt idx="1217">
                  <c:v>197.14</c:v>
                </c:pt>
                <c:pt idx="1218">
                  <c:v>198.22</c:v>
                </c:pt>
                <c:pt idx="1219">
                  <c:v>196.25</c:v>
                </c:pt>
                <c:pt idx="1220">
                  <c:v>196.51</c:v>
                </c:pt>
                <c:pt idx="1221">
                  <c:v>196.34</c:v>
                </c:pt>
                <c:pt idx="1222">
                  <c:v>195.44</c:v>
                </c:pt>
                <c:pt idx="1223">
                  <c:v>195.56</c:v>
                </c:pt>
                <c:pt idx="1224">
                  <c:v>197.15</c:v>
                </c:pt>
                <c:pt idx="1225">
                  <c:v>198.12</c:v>
                </c:pt>
                <c:pt idx="1226">
                  <c:v>198.37</c:v>
                </c:pt>
                <c:pt idx="1227">
                  <c:v>198.79</c:v>
                </c:pt>
                <c:pt idx="1228">
                  <c:v>197.32</c:v>
                </c:pt>
                <c:pt idx="1229">
                  <c:v>198.59</c:v>
                </c:pt>
                <c:pt idx="1230">
                  <c:v>198.11</c:v>
                </c:pt>
                <c:pt idx="1231">
                  <c:v>199.68</c:v>
                </c:pt>
                <c:pt idx="1232">
                  <c:v>200.88</c:v>
                </c:pt>
                <c:pt idx="1233">
                  <c:v>200.61</c:v>
                </c:pt>
                <c:pt idx="1234">
                  <c:v>200.86</c:v>
                </c:pt>
                <c:pt idx="1235">
                  <c:v>202.64</c:v>
                </c:pt>
                <c:pt idx="1236">
                  <c:v>203.29</c:v>
                </c:pt>
                <c:pt idx="1237">
                  <c:v>203.75</c:v>
                </c:pt>
                <c:pt idx="1238">
                  <c:v>205.25</c:v>
                </c:pt>
                <c:pt idx="1239">
                  <c:v>206.42</c:v>
                </c:pt>
                <c:pt idx="1240">
                  <c:v>206.16</c:v>
                </c:pt>
                <c:pt idx="1241">
                  <c:v>208.28</c:v>
                </c:pt>
                <c:pt idx="1242">
                  <c:v>209.08</c:v>
                </c:pt>
                <c:pt idx="1243">
                  <c:v>208.6</c:v>
                </c:pt>
                <c:pt idx="1244">
                  <c:v>206.78</c:v>
                </c:pt>
                <c:pt idx="1245">
                  <c:v>208.34</c:v>
                </c:pt>
                <c:pt idx="1246">
                  <c:v>210.25</c:v>
                </c:pt>
                <c:pt idx="1247">
                  <c:v>210.47</c:v>
                </c:pt>
                <c:pt idx="1248">
                  <c:v>209.94</c:v>
                </c:pt>
                <c:pt idx="1249">
                  <c:v>208.08</c:v>
                </c:pt>
                <c:pt idx="1250">
                  <c:v>211.19</c:v>
                </c:pt>
                <c:pt idx="1251">
                  <c:v>211.2</c:v>
                </c:pt>
                <c:pt idx="1252">
                  <c:v>211.86</c:v>
                </c:pt>
                <c:pt idx="1253">
                  <c:v>213.78</c:v>
                </c:pt>
                <c:pt idx="1254">
                  <c:v>212.25</c:v>
                </c:pt>
                <c:pt idx="1255">
                  <c:v>212.96</c:v>
                </c:pt>
                <c:pt idx="1256">
                  <c:v>214.23</c:v>
                </c:pt>
                <c:pt idx="1257">
                  <c:v>215.99</c:v>
                </c:pt>
                <c:pt idx="1258">
                  <c:v>214.55</c:v>
                </c:pt>
                <c:pt idx="1259">
                  <c:v>215.23</c:v>
                </c:pt>
                <c:pt idx="1260">
                  <c:v>212.81</c:v>
                </c:pt>
                <c:pt idx="1261">
                  <c:v>211.05</c:v>
                </c:pt>
                <c:pt idx="1262">
                  <c:v>211.62</c:v>
                </c:pt>
                <c:pt idx="1263">
                  <c:v>213.94</c:v>
                </c:pt>
                <c:pt idx="1264">
                  <c:v>212.59</c:v>
                </c:pt>
                <c:pt idx="1265">
                  <c:v>213.25</c:v>
                </c:pt>
                <c:pt idx="1266">
                  <c:v>212.96</c:v>
                </c:pt>
                <c:pt idx="1267">
                  <c:v>216.53</c:v>
                </c:pt>
                <c:pt idx="1268">
                  <c:v>216.72</c:v>
                </c:pt>
                <c:pt idx="1269">
                  <c:v>219.17</c:v>
                </c:pt>
                <c:pt idx="1270">
                  <c:v>221.22</c:v>
                </c:pt>
                <c:pt idx="1271">
                  <c:v>221.6</c:v>
                </c:pt>
                <c:pt idx="1272">
                  <c:v>220.61</c:v>
                </c:pt>
                <c:pt idx="1273">
                  <c:v>221.91</c:v>
                </c:pt>
                <c:pt idx="1274">
                  <c:v>220.3</c:v>
                </c:pt>
                <c:pt idx="1275">
                  <c:v>216.47</c:v>
                </c:pt>
                <c:pt idx="1276">
                  <c:v>218.3</c:v>
                </c:pt>
                <c:pt idx="1277">
                  <c:v>219.54</c:v>
                </c:pt>
                <c:pt idx="1278">
                  <c:v>219.49</c:v>
                </c:pt>
                <c:pt idx="1279">
                  <c:v>218.67</c:v>
                </c:pt>
                <c:pt idx="1280">
                  <c:v>219.41</c:v>
                </c:pt>
                <c:pt idx="1281">
                  <c:v>221.58</c:v>
                </c:pt>
                <c:pt idx="1282">
                  <c:v>218.3</c:v>
                </c:pt>
                <c:pt idx="1283">
                  <c:v>213.49</c:v>
                </c:pt>
                <c:pt idx="1284">
                  <c:v>212.8</c:v>
                </c:pt>
                <c:pt idx="1285">
                  <c:v>212.2</c:v>
                </c:pt>
                <c:pt idx="1286">
                  <c:v>213.48</c:v>
                </c:pt>
                <c:pt idx="1287">
                  <c:v>210.43</c:v>
                </c:pt>
                <c:pt idx="1288">
                  <c:v>209.21</c:v>
                </c:pt>
                <c:pt idx="1289">
                  <c:v>209.54</c:v>
                </c:pt>
                <c:pt idx="1290">
                  <c:v>215.62</c:v>
                </c:pt>
                <c:pt idx="1291">
                  <c:v>216.43</c:v>
                </c:pt>
                <c:pt idx="1292">
                  <c:v>213.65</c:v>
                </c:pt>
                <c:pt idx="1293">
                  <c:v>213.36</c:v>
                </c:pt>
                <c:pt idx="1294">
                  <c:v>214.85</c:v>
                </c:pt>
                <c:pt idx="1295">
                  <c:v>214.03</c:v>
                </c:pt>
                <c:pt idx="1296">
                  <c:v>215.04</c:v>
                </c:pt>
                <c:pt idx="1297">
                  <c:v>218.67</c:v>
                </c:pt>
                <c:pt idx="1298">
                  <c:v>219.59</c:v>
                </c:pt>
                <c:pt idx="1299">
                  <c:v>220.47</c:v>
                </c:pt>
                <c:pt idx="1300">
                  <c:v>220.48</c:v>
                </c:pt>
                <c:pt idx="1301">
                  <c:v>219.84</c:v>
                </c:pt>
                <c:pt idx="1302">
                  <c:v>218.27</c:v>
                </c:pt>
                <c:pt idx="1303">
                  <c:v>221.13</c:v>
                </c:pt>
                <c:pt idx="1304">
                  <c:v>220.12</c:v>
                </c:pt>
              </c:numCache>
            </c:numRef>
          </c:val>
          <c:smooth val="0"/>
        </c:ser>
        <c:ser>
          <c:idx val="2"/>
          <c:order val="2"/>
          <c:tx>
            <c:strRef>
              <c:f>[1]Sheet1!$D$1</c:f>
              <c:strCache>
                <c:ptCount val="1"/>
                <c:pt idx="0">
                  <c:v>#REF!</c:v>
                </c:pt>
              </c:strCache>
            </c:strRef>
          </c:tx>
          <c:spPr>
            <a:ln w="19050">
              <a:solidFill>
                <a:srgbClr val="665C8C"/>
              </a:solidFill>
            </a:ln>
          </c:spPr>
          <c:marker>
            <c:symbol val="none"/>
          </c:marker>
          <c:cat>
            <c:numRef>
              <c:f>[1]Sheet1!$A$2:$A$1247</c:f>
              <c:numCache>
                <c:formatCode>General</c:formatCode>
                <c:ptCount val="124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numCache>
            </c:numRef>
          </c:cat>
          <c:val>
            <c:numRef>
              <c:f>Sheet0!$D$2:$D$1306</c:f>
              <c:numCache>
                <c:formatCode>General</c:formatCode>
                <c:ptCount val="1305"/>
                <c:pt idx="0">
                  <c:v>118.35</c:v>
                </c:pt>
                <c:pt idx="1">
                  <c:v>119.78</c:v>
                </c:pt>
                <c:pt idx="2">
                  <c:v>118.06</c:v>
                </c:pt>
                <c:pt idx="3">
                  <c:v>118.25</c:v>
                </c:pt>
                <c:pt idx="4">
                  <c:v>116.41</c:v>
                </c:pt>
                <c:pt idx="5">
                  <c:v>114.29</c:v>
                </c:pt>
                <c:pt idx="6">
                  <c:v>118.13</c:v>
                </c:pt>
                <c:pt idx="7">
                  <c:v>118.63</c:v>
                </c:pt>
                <c:pt idx="8">
                  <c:v>120.16</c:v>
                </c:pt>
                <c:pt idx="9">
                  <c:v>120.69</c:v>
                </c:pt>
                <c:pt idx="10">
                  <c:v>119.03</c:v>
                </c:pt>
                <c:pt idx="11">
                  <c:v>119</c:v>
                </c:pt>
                <c:pt idx="12">
                  <c:v>118.26</c:v>
                </c:pt>
                <c:pt idx="13">
                  <c:v>116.87</c:v>
                </c:pt>
                <c:pt idx="14">
                  <c:v>113.56</c:v>
                </c:pt>
                <c:pt idx="15">
                  <c:v>112.55</c:v>
                </c:pt>
                <c:pt idx="16">
                  <c:v>113.23</c:v>
                </c:pt>
                <c:pt idx="17">
                  <c:v>112.72</c:v>
                </c:pt>
                <c:pt idx="18">
                  <c:v>113.49</c:v>
                </c:pt>
                <c:pt idx="19">
                  <c:v>116.46</c:v>
                </c:pt>
                <c:pt idx="20">
                  <c:v>115.43</c:v>
                </c:pt>
                <c:pt idx="21">
                  <c:v>115.96</c:v>
                </c:pt>
                <c:pt idx="22">
                  <c:v>114.75</c:v>
                </c:pt>
                <c:pt idx="23">
                  <c:v>116.54</c:v>
                </c:pt>
                <c:pt idx="24">
                  <c:v>117.83</c:v>
                </c:pt>
                <c:pt idx="25">
                  <c:v>116.2</c:v>
                </c:pt>
                <c:pt idx="26">
                  <c:v>115.13</c:v>
                </c:pt>
                <c:pt idx="27">
                  <c:v>115.41</c:v>
                </c:pt>
                <c:pt idx="28">
                  <c:v>114.93</c:v>
                </c:pt>
                <c:pt idx="29">
                  <c:v>117.15</c:v>
                </c:pt>
                <c:pt idx="30">
                  <c:v>117.87</c:v>
                </c:pt>
                <c:pt idx="31">
                  <c:v>117.3</c:v>
                </c:pt>
                <c:pt idx="32">
                  <c:v>118.8</c:v>
                </c:pt>
                <c:pt idx="33">
                  <c:v>119.03</c:v>
                </c:pt>
                <c:pt idx="34">
                  <c:v>118.86</c:v>
                </c:pt>
                <c:pt idx="35">
                  <c:v>118.87</c:v>
                </c:pt>
                <c:pt idx="36">
                  <c:v>119.52</c:v>
                </c:pt>
                <c:pt idx="37">
                  <c:v>118.87</c:v>
                </c:pt>
                <c:pt idx="38">
                  <c:v>118.28</c:v>
                </c:pt>
                <c:pt idx="39">
                  <c:v>116.15</c:v>
                </c:pt>
                <c:pt idx="40">
                  <c:v>116.04</c:v>
                </c:pt>
                <c:pt idx="41">
                  <c:v>116.01</c:v>
                </c:pt>
                <c:pt idx="42">
                  <c:v>113.78</c:v>
                </c:pt>
                <c:pt idx="43">
                  <c:v>112.41</c:v>
                </c:pt>
                <c:pt idx="44">
                  <c:v>110.02</c:v>
                </c:pt>
                <c:pt idx="45">
                  <c:v>108.81</c:v>
                </c:pt>
                <c:pt idx="46">
                  <c:v>109.12</c:v>
                </c:pt>
                <c:pt idx="47">
                  <c:v>110.03</c:v>
                </c:pt>
                <c:pt idx="48">
                  <c:v>112.23</c:v>
                </c:pt>
                <c:pt idx="49">
                  <c:v>113.18</c:v>
                </c:pt>
                <c:pt idx="50">
                  <c:v>114.28</c:v>
                </c:pt>
                <c:pt idx="51">
                  <c:v>114.72</c:v>
                </c:pt>
                <c:pt idx="52">
                  <c:v>115.75</c:v>
                </c:pt>
                <c:pt idx="53">
                  <c:v>115.65</c:v>
                </c:pt>
                <c:pt idx="54">
                  <c:v>114.16</c:v>
                </c:pt>
                <c:pt idx="55">
                  <c:v>111.32</c:v>
                </c:pt>
                <c:pt idx="56">
                  <c:v>111.1</c:v>
                </c:pt>
                <c:pt idx="57">
                  <c:v>112.21</c:v>
                </c:pt>
                <c:pt idx="58">
                  <c:v>112.31</c:v>
                </c:pt>
                <c:pt idx="59">
                  <c:v>113.72</c:v>
                </c:pt>
                <c:pt idx="60">
                  <c:v>115.29</c:v>
                </c:pt>
                <c:pt idx="61">
                  <c:v>115.48</c:v>
                </c:pt>
                <c:pt idx="62">
                  <c:v>115.19</c:v>
                </c:pt>
                <c:pt idx="63">
                  <c:v>114.82</c:v>
                </c:pt>
                <c:pt idx="64">
                  <c:v>114.13</c:v>
                </c:pt>
                <c:pt idx="65">
                  <c:v>114.26</c:v>
                </c:pt>
                <c:pt idx="66">
                  <c:v>115.65</c:v>
                </c:pt>
                <c:pt idx="67">
                  <c:v>115.45</c:v>
                </c:pt>
                <c:pt idx="68">
                  <c:v>116.09</c:v>
                </c:pt>
                <c:pt idx="69">
                  <c:v>116.07</c:v>
                </c:pt>
                <c:pt idx="70">
                  <c:v>114.82</c:v>
                </c:pt>
                <c:pt idx="71">
                  <c:v>115.8</c:v>
                </c:pt>
                <c:pt idx="72">
                  <c:v>115.89</c:v>
                </c:pt>
                <c:pt idx="73">
                  <c:v>114.31</c:v>
                </c:pt>
                <c:pt idx="74">
                  <c:v>114.06</c:v>
                </c:pt>
                <c:pt idx="75">
                  <c:v>114.56</c:v>
                </c:pt>
                <c:pt idx="76">
                  <c:v>114.12</c:v>
                </c:pt>
                <c:pt idx="77">
                  <c:v>115.2</c:v>
                </c:pt>
                <c:pt idx="78">
                  <c:v>115.45</c:v>
                </c:pt>
                <c:pt idx="79">
                  <c:v>114.08</c:v>
                </c:pt>
                <c:pt idx="80">
                  <c:v>114.29</c:v>
                </c:pt>
                <c:pt idx="81">
                  <c:v>114.5</c:v>
                </c:pt>
                <c:pt idx="82">
                  <c:v>112.81</c:v>
                </c:pt>
                <c:pt idx="83">
                  <c:v>112.73</c:v>
                </c:pt>
                <c:pt idx="84">
                  <c:v>112.15</c:v>
                </c:pt>
                <c:pt idx="85">
                  <c:v>113.55</c:v>
                </c:pt>
                <c:pt idx="86">
                  <c:v>113.3</c:v>
                </c:pt>
                <c:pt idx="87">
                  <c:v>112.78</c:v>
                </c:pt>
                <c:pt idx="88">
                  <c:v>114.97</c:v>
                </c:pt>
                <c:pt idx="89">
                  <c:v>115.7</c:v>
                </c:pt>
                <c:pt idx="90">
                  <c:v>116.64</c:v>
                </c:pt>
                <c:pt idx="91">
                  <c:v>117.03</c:v>
                </c:pt>
                <c:pt idx="92">
                  <c:v>117.16</c:v>
                </c:pt>
                <c:pt idx="93">
                  <c:v>117.48</c:v>
                </c:pt>
                <c:pt idx="94">
                  <c:v>118.4</c:v>
                </c:pt>
                <c:pt idx="95">
                  <c:v>118.75</c:v>
                </c:pt>
                <c:pt idx="96">
                  <c:v>119.05</c:v>
                </c:pt>
                <c:pt idx="97">
                  <c:v>118.46</c:v>
                </c:pt>
                <c:pt idx="98">
                  <c:v>118.09</c:v>
                </c:pt>
                <c:pt idx="99">
                  <c:v>117.23</c:v>
                </c:pt>
                <c:pt idx="100">
                  <c:v>117.64</c:v>
                </c:pt>
                <c:pt idx="101">
                  <c:v>118.83</c:v>
                </c:pt>
                <c:pt idx="102">
                  <c:v>118.22</c:v>
                </c:pt>
                <c:pt idx="103">
                  <c:v>115.89</c:v>
                </c:pt>
                <c:pt idx="104">
                  <c:v>115.87</c:v>
                </c:pt>
                <c:pt idx="105">
                  <c:v>116.51</c:v>
                </c:pt>
                <c:pt idx="106">
                  <c:v>116.43</c:v>
                </c:pt>
                <c:pt idx="107">
                  <c:v>116.16</c:v>
                </c:pt>
                <c:pt idx="108">
                  <c:v>115.71</c:v>
                </c:pt>
                <c:pt idx="109">
                  <c:v>114.78</c:v>
                </c:pt>
                <c:pt idx="110">
                  <c:v>114.48</c:v>
                </c:pt>
                <c:pt idx="111">
                  <c:v>114.2</c:v>
                </c:pt>
                <c:pt idx="112">
                  <c:v>115.13</c:v>
                </c:pt>
                <c:pt idx="113">
                  <c:v>115.38</c:v>
                </c:pt>
                <c:pt idx="114">
                  <c:v>115.07</c:v>
                </c:pt>
                <c:pt idx="115">
                  <c:v>115.43</c:v>
                </c:pt>
                <c:pt idx="116">
                  <c:v>115.82</c:v>
                </c:pt>
                <c:pt idx="117">
                  <c:v>116.03</c:v>
                </c:pt>
                <c:pt idx="118">
                  <c:v>116.37</c:v>
                </c:pt>
                <c:pt idx="119">
                  <c:v>115.77</c:v>
                </c:pt>
                <c:pt idx="120">
                  <c:v>116.09</c:v>
                </c:pt>
                <c:pt idx="121">
                  <c:v>116.86</c:v>
                </c:pt>
                <c:pt idx="122">
                  <c:v>116.58</c:v>
                </c:pt>
                <c:pt idx="123">
                  <c:v>116.29</c:v>
                </c:pt>
                <c:pt idx="124">
                  <c:v>116.33</c:v>
                </c:pt>
                <c:pt idx="125">
                  <c:v>116.77</c:v>
                </c:pt>
                <c:pt idx="126">
                  <c:v>116.97</c:v>
                </c:pt>
                <c:pt idx="127">
                  <c:v>117.31</c:v>
                </c:pt>
                <c:pt idx="128">
                  <c:v>117.11</c:v>
                </c:pt>
                <c:pt idx="129">
                  <c:v>116.78</c:v>
                </c:pt>
                <c:pt idx="130">
                  <c:v>116.89</c:v>
                </c:pt>
                <c:pt idx="131">
                  <c:v>117.1</c:v>
                </c:pt>
                <c:pt idx="132">
                  <c:v>116.96</c:v>
                </c:pt>
                <c:pt idx="133">
                  <c:v>117.05</c:v>
                </c:pt>
                <c:pt idx="134">
                  <c:v>118.09</c:v>
                </c:pt>
                <c:pt idx="135">
                  <c:v>119.84</c:v>
                </c:pt>
                <c:pt idx="136">
                  <c:v>120.71</c:v>
                </c:pt>
                <c:pt idx="137">
                  <c:v>120.41</c:v>
                </c:pt>
                <c:pt idx="138">
                  <c:v>121.4</c:v>
                </c:pt>
                <c:pt idx="139">
                  <c:v>121.47</c:v>
                </c:pt>
                <c:pt idx="140">
                  <c:v>120.06</c:v>
                </c:pt>
                <c:pt idx="141">
                  <c:v>120.9</c:v>
                </c:pt>
                <c:pt idx="142">
                  <c:v>119.03</c:v>
                </c:pt>
                <c:pt idx="143">
                  <c:v>119.36</c:v>
                </c:pt>
                <c:pt idx="144">
                  <c:v>120.74</c:v>
                </c:pt>
                <c:pt idx="145">
                  <c:v>120.35</c:v>
                </c:pt>
                <c:pt idx="146">
                  <c:v>120.47</c:v>
                </c:pt>
                <c:pt idx="147">
                  <c:v>120</c:v>
                </c:pt>
                <c:pt idx="148">
                  <c:v>121.42</c:v>
                </c:pt>
                <c:pt idx="149">
                  <c:v>121.8</c:v>
                </c:pt>
                <c:pt idx="150">
                  <c:v>121.93</c:v>
                </c:pt>
                <c:pt idx="151">
                  <c:v>122.17</c:v>
                </c:pt>
                <c:pt idx="152">
                  <c:v>122.04</c:v>
                </c:pt>
                <c:pt idx="153">
                  <c:v>123.96</c:v>
                </c:pt>
                <c:pt idx="154">
                  <c:v>125.09</c:v>
                </c:pt>
                <c:pt idx="155">
                  <c:v>124.1</c:v>
                </c:pt>
                <c:pt idx="156">
                  <c:v>124.75</c:v>
                </c:pt>
                <c:pt idx="157">
                  <c:v>124.69</c:v>
                </c:pt>
                <c:pt idx="158">
                  <c:v>125.61</c:v>
                </c:pt>
                <c:pt idx="159">
                  <c:v>126.43</c:v>
                </c:pt>
                <c:pt idx="160">
                  <c:v>126.51</c:v>
                </c:pt>
                <c:pt idx="161">
                  <c:v>125.84</c:v>
                </c:pt>
                <c:pt idx="162">
                  <c:v>126.13</c:v>
                </c:pt>
                <c:pt idx="163">
                  <c:v>125.87</c:v>
                </c:pt>
                <c:pt idx="164">
                  <c:v>127.13</c:v>
                </c:pt>
                <c:pt idx="165">
                  <c:v>127.35</c:v>
                </c:pt>
                <c:pt idx="166">
                  <c:v>128.03</c:v>
                </c:pt>
                <c:pt idx="167">
                  <c:v>128.88</c:v>
                </c:pt>
                <c:pt idx="168">
                  <c:v>129.5</c:v>
                </c:pt>
                <c:pt idx="169">
                  <c:v>129.78</c:v>
                </c:pt>
                <c:pt idx="170">
                  <c:v>129.35</c:v>
                </c:pt>
                <c:pt idx="171">
                  <c:v>128.9</c:v>
                </c:pt>
                <c:pt idx="172">
                  <c:v>129.36000000000001</c:v>
                </c:pt>
                <c:pt idx="173">
                  <c:v>129.69999999999999</c:v>
                </c:pt>
                <c:pt idx="174">
                  <c:v>128.04</c:v>
                </c:pt>
                <c:pt idx="175">
                  <c:v>127.14</c:v>
                </c:pt>
                <c:pt idx="176">
                  <c:v>128.4</c:v>
                </c:pt>
                <c:pt idx="177">
                  <c:v>128.99</c:v>
                </c:pt>
                <c:pt idx="178">
                  <c:v>130.25</c:v>
                </c:pt>
                <c:pt idx="179">
                  <c:v>131.22</c:v>
                </c:pt>
                <c:pt idx="180">
                  <c:v>131.51</c:v>
                </c:pt>
                <c:pt idx="181">
                  <c:v>131.33000000000001</c:v>
                </c:pt>
                <c:pt idx="182">
                  <c:v>132.07</c:v>
                </c:pt>
                <c:pt idx="183">
                  <c:v>132.46</c:v>
                </c:pt>
                <c:pt idx="184">
                  <c:v>130.49</c:v>
                </c:pt>
                <c:pt idx="185">
                  <c:v>130.56</c:v>
                </c:pt>
                <c:pt idx="186">
                  <c:v>131.13</c:v>
                </c:pt>
                <c:pt idx="187">
                  <c:v>130.99</c:v>
                </c:pt>
                <c:pt idx="188">
                  <c:v>129.33000000000001</c:v>
                </c:pt>
                <c:pt idx="189">
                  <c:v>128.69</c:v>
                </c:pt>
                <c:pt idx="190">
                  <c:v>127.79</c:v>
                </c:pt>
                <c:pt idx="191">
                  <c:v>127.84</c:v>
                </c:pt>
                <c:pt idx="192">
                  <c:v>127.77</c:v>
                </c:pt>
                <c:pt idx="193">
                  <c:v>128.31</c:v>
                </c:pt>
                <c:pt idx="194">
                  <c:v>128.19999999999999</c:v>
                </c:pt>
                <c:pt idx="195">
                  <c:v>127.38</c:v>
                </c:pt>
                <c:pt idx="196">
                  <c:v>127.15</c:v>
                </c:pt>
                <c:pt idx="197">
                  <c:v>128.47999999999999</c:v>
                </c:pt>
                <c:pt idx="198">
                  <c:v>128.61000000000001</c:v>
                </c:pt>
                <c:pt idx="199">
                  <c:v>130.01</c:v>
                </c:pt>
                <c:pt idx="200">
                  <c:v>130.94</c:v>
                </c:pt>
                <c:pt idx="201">
                  <c:v>131.77000000000001</c:v>
                </c:pt>
                <c:pt idx="202">
                  <c:v>131.32</c:v>
                </c:pt>
                <c:pt idx="203">
                  <c:v>130.53</c:v>
                </c:pt>
                <c:pt idx="204">
                  <c:v>131.05000000000001</c:v>
                </c:pt>
                <c:pt idx="205">
                  <c:v>131.85</c:v>
                </c:pt>
                <c:pt idx="206">
                  <c:v>133.16999999999999</c:v>
                </c:pt>
                <c:pt idx="207">
                  <c:v>132.59</c:v>
                </c:pt>
                <c:pt idx="208">
                  <c:v>133.29</c:v>
                </c:pt>
                <c:pt idx="209">
                  <c:v>133.44999999999999</c:v>
                </c:pt>
                <c:pt idx="210">
                  <c:v>133.16999999999999</c:v>
                </c:pt>
                <c:pt idx="211">
                  <c:v>132.4</c:v>
                </c:pt>
                <c:pt idx="212">
                  <c:v>130.24</c:v>
                </c:pt>
                <c:pt idx="213">
                  <c:v>128.84</c:v>
                </c:pt>
                <c:pt idx="214">
                  <c:v>128.31</c:v>
                </c:pt>
                <c:pt idx="215">
                  <c:v>130.11000000000001</c:v>
                </c:pt>
                <c:pt idx="216">
                  <c:v>130.56</c:v>
                </c:pt>
                <c:pt idx="217">
                  <c:v>129.41999999999999</c:v>
                </c:pt>
                <c:pt idx="218">
                  <c:v>128.66999999999999</c:v>
                </c:pt>
                <c:pt idx="219">
                  <c:v>129.43</c:v>
                </c:pt>
                <c:pt idx="220">
                  <c:v>128.68</c:v>
                </c:pt>
                <c:pt idx="221">
                  <c:v>127.57</c:v>
                </c:pt>
                <c:pt idx="222">
                  <c:v>128.81</c:v>
                </c:pt>
                <c:pt idx="223">
                  <c:v>128.53</c:v>
                </c:pt>
                <c:pt idx="224">
                  <c:v>127.16</c:v>
                </c:pt>
                <c:pt idx="225">
                  <c:v>126.91</c:v>
                </c:pt>
                <c:pt idx="226">
                  <c:v>124.3</c:v>
                </c:pt>
                <c:pt idx="227">
                  <c:v>121.4</c:v>
                </c:pt>
                <c:pt idx="228">
                  <c:v>120.84</c:v>
                </c:pt>
                <c:pt idx="229">
                  <c:v>121.79</c:v>
                </c:pt>
                <c:pt idx="230">
                  <c:v>121.49</c:v>
                </c:pt>
                <c:pt idx="231">
                  <c:v>122.99</c:v>
                </c:pt>
                <c:pt idx="232">
                  <c:v>123.19</c:v>
                </c:pt>
                <c:pt idx="233">
                  <c:v>123.98</c:v>
                </c:pt>
                <c:pt idx="234">
                  <c:v>124.49</c:v>
                </c:pt>
                <c:pt idx="235">
                  <c:v>125.16</c:v>
                </c:pt>
                <c:pt idx="236">
                  <c:v>125.11</c:v>
                </c:pt>
                <c:pt idx="237">
                  <c:v>125.71</c:v>
                </c:pt>
                <c:pt idx="238">
                  <c:v>126.64</c:v>
                </c:pt>
                <c:pt idx="239">
                  <c:v>125.7</c:v>
                </c:pt>
                <c:pt idx="240">
                  <c:v>126.68</c:v>
                </c:pt>
                <c:pt idx="241">
                  <c:v>126.34</c:v>
                </c:pt>
                <c:pt idx="242">
                  <c:v>126.38</c:v>
                </c:pt>
                <c:pt idx="243">
                  <c:v>125.62</c:v>
                </c:pt>
                <c:pt idx="244">
                  <c:v>125.78</c:v>
                </c:pt>
                <c:pt idx="245">
                  <c:v>125.15</c:v>
                </c:pt>
                <c:pt idx="246">
                  <c:v>124.75</c:v>
                </c:pt>
                <c:pt idx="247">
                  <c:v>123.04</c:v>
                </c:pt>
                <c:pt idx="248">
                  <c:v>123.45</c:v>
                </c:pt>
                <c:pt idx="249">
                  <c:v>123.65</c:v>
                </c:pt>
                <c:pt idx="250">
                  <c:v>124.12</c:v>
                </c:pt>
                <c:pt idx="251">
                  <c:v>124.05</c:v>
                </c:pt>
                <c:pt idx="252">
                  <c:v>123.79</c:v>
                </c:pt>
                <c:pt idx="253">
                  <c:v>124.51</c:v>
                </c:pt>
                <c:pt idx="254">
                  <c:v>125.04</c:v>
                </c:pt>
                <c:pt idx="255">
                  <c:v>125.09</c:v>
                </c:pt>
                <c:pt idx="256">
                  <c:v>125.38</c:v>
                </c:pt>
                <c:pt idx="257">
                  <c:v>125.11</c:v>
                </c:pt>
                <c:pt idx="258">
                  <c:v>125.36</c:v>
                </c:pt>
                <c:pt idx="259">
                  <c:v>125.21</c:v>
                </c:pt>
                <c:pt idx="260">
                  <c:v>124.88</c:v>
                </c:pt>
                <c:pt idx="261">
                  <c:v>123.54</c:v>
                </c:pt>
                <c:pt idx="262">
                  <c:v>124.43</c:v>
                </c:pt>
                <c:pt idx="263">
                  <c:v>125.7</c:v>
                </c:pt>
                <c:pt idx="264">
                  <c:v>127.33</c:v>
                </c:pt>
                <c:pt idx="265">
                  <c:v>127.71</c:v>
                </c:pt>
                <c:pt idx="266">
                  <c:v>127.48</c:v>
                </c:pt>
                <c:pt idx="267">
                  <c:v>127.78</c:v>
                </c:pt>
                <c:pt idx="268">
                  <c:v>127</c:v>
                </c:pt>
                <c:pt idx="269">
                  <c:v>126.14</c:v>
                </c:pt>
                <c:pt idx="270">
                  <c:v>126.04</c:v>
                </c:pt>
                <c:pt idx="271">
                  <c:v>126.5</c:v>
                </c:pt>
                <c:pt idx="272">
                  <c:v>126.85</c:v>
                </c:pt>
                <c:pt idx="273">
                  <c:v>126.92</c:v>
                </c:pt>
                <c:pt idx="274">
                  <c:v>125.93</c:v>
                </c:pt>
                <c:pt idx="275">
                  <c:v>125.42</c:v>
                </c:pt>
                <c:pt idx="276">
                  <c:v>126.13</c:v>
                </c:pt>
                <c:pt idx="277">
                  <c:v>126.55</c:v>
                </c:pt>
                <c:pt idx="278">
                  <c:v>126.23</c:v>
                </c:pt>
                <c:pt idx="279">
                  <c:v>126.12</c:v>
                </c:pt>
                <c:pt idx="280">
                  <c:v>126.74</c:v>
                </c:pt>
                <c:pt idx="281">
                  <c:v>124.69</c:v>
                </c:pt>
                <c:pt idx="282">
                  <c:v>123.6</c:v>
                </c:pt>
                <c:pt idx="283">
                  <c:v>122.07</c:v>
                </c:pt>
                <c:pt idx="284">
                  <c:v>120.84</c:v>
                </c:pt>
                <c:pt idx="285">
                  <c:v>120.38</c:v>
                </c:pt>
                <c:pt idx="286">
                  <c:v>120.09</c:v>
                </c:pt>
                <c:pt idx="287">
                  <c:v>121.42</c:v>
                </c:pt>
                <c:pt idx="288">
                  <c:v>120.9</c:v>
                </c:pt>
                <c:pt idx="289">
                  <c:v>120.79</c:v>
                </c:pt>
                <c:pt idx="290">
                  <c:v>121.52</c:v>
                </c:pt>
                <c:pt idx="291">
                  <c:v>121.11</c:v>
                </c:pt>
                <c:pt idx="292">
                  <c:v>121.36</c:v>
                </c:pt>
                <c:pt idx="293">
                  <c:v>120.59</c:v>
                </c:pt>
                <c:pt idx="294">
                  <c:v>120.62</c:v>
                </c:pt>
                <c:pt idx="295">
                  <c:v>122.01</c:v>
                </c:pt>
                <c:pt idx="296">
                  <c:v>121.33</c:v>
                </c:pt>
                <c:pt idx="297">
                  <c:v>122.03</c:v>
                </c:pt>
                <c:pt idx="298">
                  <c:v>121.38</c:v>
                </c:pt>
                <c:pt idx="299">
                  <c:v>120.93</c:v>
                </c:pt>
                <c:pt idx="300">
                  <c:v>121.62</c:v>
                </c:pt>
                <c:pt idx="301">
                  <c:v>123.02</c:v>
                </c:pt>
                <c:pt idx="302">
                  <c:v>123.74</c:v>
                </c:pt>
                <c:pt idx="303">
                  <c:v>125.03</c:v>
                </c:pt>
                <c:pt idx="304">
                  <c:v>125.23</c:v>
                </c:pt>
                <c:pt idx="305">
                  <c:v>125.45</c:v>
                </c:pt>
                <c:pt idx="306">
                  <c:v>126.46</c:v>
                </c:pt>
                <c:pt idx="307">
                  <c:v>126.88</c:v>
                </c:pt>
                <c:pt idx="308">
                  <c:v>127.01</c:v>
                </c:pt>
                <c:pt idx="309">
                  <c:v>126.73</c:v>
                </c:pt>
                <c:pt idx="310">
                  <c:v>125.98</c:v>
                </c:pt>
                <c:pt idx="311">
                  <c:v>125.71</c:v>
                </c:pt>
                <c:pt idx="312">
                  <c:v>124.86</c:v>
                </c:pt>
                <c:pt idx="313">
                  <c:v>125.36</c:v>
                </c:pt>
                <c:pt idx="314">
                  <c:v>124.67</c:v>
                </c:pt>
                <c:pt idx="315">
                  <c:v>125.03</c:v>
                </c:pt>
                <c:pt idx="316">
                  <c:v>125.74</c:v>
                </c:pt>
                <c:pt idx="317">
                  <c:v>125.94</c:v>
                </c:pt>
                <c:pt idx="318">
                  <c:v>126.59</c:v>
                </c:pt>
                <c:pt idx="319">
                  <c:v>126.11</c:v>
                </c:pt>
                <c:pt idx="320">
                  <c:v>124.99</c:v>
                </c:pt>
                <c:pt idx="321">
                  <c:v>123.74</c:v>
                </c:pt>
                <c:pt idx="322">
                  <c:v>123.85</c:v>
                </c:pt>
                <c:pt idx="323">
                  <c:v>122.65</c:v>
                </c:pt>
                <c:pt idx="324">
                  <c:v>123.33</c:v>
                </c:pt>
                <c:pt idx="325">
                  <c:v>120.55</c:v>
                </c:pt>
                <c:pt idx="326">
                  <c:v>119.3</c:v>
                </c:pt>
                <c:pt idx="327">
                  <c:v>115.33</c:v>
                </c:pt>
                <c:pt idx="328">
                  <c:v>113.61</c:v>
                </c:pt>
                <c:pt idx="329">
                  <c:v>107.93</c:v>
                </c:pt>
                <c:pt idx="330">
                  <c:v>110.58</c:v>
                </c:pt>
                <c:pt idx="331">
                  <c:v>107.73</c:v>
                </c:pt>
                <c:pt idx="332">
                  <c:v>110.4</c:v>
                </c:pt>
                <c:pt idx="333">
                  <c:v>112.21</c:v>
                </c:pt>
                <c:pt idx="334">
                  <c:v>112.68</c:v>
                </c:pt>
                <c:pt idx="335">
                  <c:v>112.3</c:v>
                </c:pt>
                <c:pt idx="336">
                  <c:v>112.26</c:v>
                </c:pt>
                <c:pt idx="337">
                  <c:v>108.45</c:v>
                </c:pt>
                <c:pt idx="338">
                  <c:v>106.13</c:v>
                </c:pt>
                <c:pt idx="339">
                  <c:v>106.33</c:v>
                </c:pt>
                <c:pt idx="340">
                  <c:v>108.71</c:v>
                </c:pt>
                <c:pt idx="341">
                  <c:v>109.55</c:v>
                </c:pt>
                <c:pt idx="342">
                  <c:v>108.76</c:v>
                </c:pt>
                <c:pt idx="343">
                  <c:v>109.46</c:v>
                </c:pt>
                <c:pt idx="344">
                  <c:v>110.71</c:v>
                </c:pt>
                <c:pt idx="345">
                  <c:v>112</c:v>
                </c:pt>
                <c:pt idx="346">
                  <c:v>113.72</c:v>
                </c:pt>
                <c:pt idx="347">
                  <c:v>114.19</c:v>
                </c:pt>
                <c:pt idx="348">
                  <c:v>111.91</c:v>
                </c:pt>
                <c:pt idx="349">
                  <c:v>110.57</c:v>
                </c:pt>
                <c:pt idx="350">
                  <c:v>110.03</c:v>
                </c:pt>
                <c:pt idx="351">
                  <c:v>113.03</c:v>
                </c:pt>
                <c:pt idx="352">
                  <c:v>112.94</c:v>
                </c:pt>
                <c:pt idx="353">
                  <c:v>111.96</c:v>
                </c:pt>
                <c:pt idx="354">
                  <c:v>111.56</c:v>
                </c:pt>
                <c:pt idx="355">
                  <c:v>112.17</c:v>
                </c:pt>
                <c:pt idx="356">
                  <c:v>113.22</c:v>
                </c:pt>
                <c:pt idx="357">
                  <c:v>114.14</c:v>
                </c:pt>
                <c:pt idx="358">
                  <c:v>115.36</c:v>
                </c:pt>
                <c:pt idx="359">
                  <c:v>114.88</c:v>
                </c:pt>
                <c:pt idx="360">
                  <c:v>114.56</c:v>
                </c:pt>
                <c:pt idx="361">
                  <c:v>112.36</c:v>
                </c:pt>
                <c:pt idx="362">
                  <c:v>109.46</c:v>
                </c:pt>
                <c:pt idx="363">
                  <c:v>109.54</c:v>
                </c:pt>
                <c:pt idx="364">
                  <c:v>111.27</c:v>
                </c:pt>
                <c:pt idx="365">
                  <c:v>113.07</c:v>
                </c:pt>
                <c:pt idx="366">
                  <c:v>111.8</c:v>
                </c:pt>
                <c:pt idx="367">
                  <c:v>112.11</c:v>
                </c:pt>
                <c:pt idx="368">
                  <c:v>111.47</c:v>
                </c:pt>
                <c:pt idx="369">
                  <c:v>109.68</c:v>
                </c:pt>
                <c:pt idx="370">
                  <c:v>109.51</c:v>
                </c:pt>
                <c:pt idx="371">
                  <c:v>111.42</c:v>
                </c:pt>
                <c:pt idx="372">
                  <c:v>113.46</c:v>
                </c:pt>
                <c:pt idx="373">
                  <c:v>113.03</c:v>
                </c:pt>
                <c:pt idx="374">
                  <c:v>114.64</c:v>
                </c:pt>
                <c:pt idx="375">
                  <c:v>115.09</c:v>
                </c:pt>
                <c:pt idx="376">
                  <c:v>115.37</c:v>
                </c:pt>
                <c:pt idx="377">
                  <c:v>115.55</c:v>
                </c:pt>
                <c:pt idx="378">
                  <c:v>115.81</c:v>
                </c:pt>
                <c:pt idx="379">
                  <c:v>115.32</c:v>
                </c:pt>
                <c:pt idx="380">
                  <c:v>116.42</c:v>
                </c:pt>
                <c:pt idx="381">
                  <c:v>115.24</c:v>
                </c:pt>
                <c:pt idx="382">
                  <c:v>115.25</c:v>
                </c:pt>
                <c:pt idx="383">
                  <c:v>116.23</c:v>
                </c:pt>
                <c:pt idx="384">
                  <c:v>118.09</c:v>
                </c:pt>
                <c:pt idx="385">
                  <c:v>116.41</c:v>
                </c:pt>
                <c:pt idx="386">
                  <c:v>117.53</c:v>
                </c:pt>
                <c:pt idx="387">
                  <c:v>119.69</c:v>
                </c:pt>
                <c:pt idx="388">
                  <c:v>119.75</c:v>
                </c:pt>
                <c:pt idx="389">
                  <c:v>118.11</c:v>
                </c:pt>
                <c:pt idx="390">
                  <c:v>116.25</c:v>
                </c:pt>
                <c:pt idx="391">
                  <c:v>116.63</c:v>
                </c:pt>
                <c:pt idx="392">
                  <c:v>118.78</c:v>
                </c:pt>
                <c:pt idx="393">
                  <c:v>118.34</c:v>
                </c:pt>
                <c:pt idx="394">
                  <c:v>118.6</c:v>
                </c:pt>
                <c:pt idx="395">
                  <c:v>119.13</c:v>
                </c:pt>
                <c:pt idx="396">
                  <c:v>117.73</c:v>
                </c:pt>
                <c:pt idx="397">
                  <c:v>117.46</c:v>
                </c:pt>
                <c:pt idx="398">
                  <c:v>118.8</c:v>
                </c:pt>
                <c:pt idx="399">
                  <c:v>118.68</c:v>
                </c:pt>
                <c:pt idx="400">
                  <c:v>119.26</c:v>
                </c:pt>
                <c:pt idx="401">
                  <c:v>118.04</c:v>
                </c:pt>
                <c:pt idx="402">
                  <c:v>116.61</c:v>
                </c:pt>
                <c:pt idx="403">
                  <c:v>115.96</c:v>
                </c:pt>
                <c:pt idx="404">
                  <c:v>113.83</c:v>
                </c:pt>
                <c:pt idx="405">
                  <c:v>113.23</c:v>
                </c:pt>
                <c:pt idx="406">
                  <c:v>112.01</c:v>
                </c:pt>
                <c:pt idx="407">
                  <c:v>111.96</c:v>
                </c:pt>
                <c:pt idx="408">
                  <c:v>112.18</c:v>
                </c:pt>
                <c:pt idx="409">
                  <c:v>114.99</c:v>
                </c:pt>
                <c:pt idx="410">
                  <c:v>115.93</c:v>
                </c:pt>
                <c:pt idx="411">
                  <c:v>119.2</c:v>
                </c:pt>
                <c:pt idx="412">
                  <c:v>119.23</c:v>
                </c:pt>
                <c:pt idx="413">
                  <c:v>119.89</c:v>
                </c:pt>
                <c:pt idx="414">
                  <c:v>120.74</c:v>
                </c:pt>
                <c:pt idx="415">
                  <c:v>120.9</c:v>
                </c:pt>
                <c:pt idx="416">
                  <c:v>121.23</c:v>
                </c:pt>
                <c:pt idx="417">
                  <c:v>119.68</c:v>
                </c:pt>
                <c:pt idx="418">
                  <c:v>120.41</c:v>
                </c:pt>
                <c:pt idx="419">
                  <c:v>119.91</c:v>
                </c:pt>
                <c:pt idx="420">
                  <c:v>120.09</c:v>
                </c:pt>
                <c:pt idx="421">
                  <c:v>119.25</c:v>
                </c:pt>
                <c:pt idx="422">
                  <c:v>119.18</c:v>
                </c:pt>
                <c:pt idx="423">
                  <c:v>119.1</c:v>
                </c:pt>
                <c:pt idx="424">
                  <c:v>118.2</c:v>
                </c:pt>
                <c:pt idx="425">
                  <c:v>120.28</c:v>
                </c:pt>
                <c:pt idx="426">
                  <c:v>120.91</c:v>
                </c:pt>
                <c:pt idx="427">
                  <c:v>121.69</c:v>
                </c:pt>
                <c:pt idx="428">
                  <c:v>122.83</c:v>
                </c:pt>
                <c:pt idx="429">
                  <c:v>122.73</c:v>
                </c:pt>
                <c:pt idx="430">
                  <c:v>122.28</c:v>
                </c:pt>
                <c:pt idx="431">
                  <c:v>123.54</c:v>
                </c:pt>
                <c:pt idx="432">
                  <c:v>123.48</c:v>
                </c:pt>
                <c:pt idx="433">
                  <c:v>123.84</c:v>
                </c:pt>
                <c:pt idx="434">
                  <c:v>125.25</c:v>
                </c:pt>
                <c:pt idx="435">
                  <c:v>126.39</c:v>
                </c:pt>
                <c:pt idx="436">
                  <c:v>126.79</c:v>
                </c:pt>
                <c:pt idx="437">
                  <c:v>127.01</c:v>
                </c:pt>
                <c:pt idx="438">
                  <c:v>126.88</c:v>
                </c:pt>
                <c:pt idx="439">
                  <c:v>128.07</c:v>
                </c:pt>
                <c:pt idx="440">
                  <c:v>128.68</c:v>
                </c:pt>
                <c:pt idx="441">
                  <c:v>127.91</c:v>
                </c:pt>
                <c:pt idx="442">
                  <c:v>128.59</c:v>
                </c:pt>
                <c:pt idx="443">
                  <c:v>128.66999999999999</c:v>
                </c:pt>
                <c:pt idx="444">
                  <c:v>129.06</c:v>
                </c:pt>
                <c:pt idx="445">
                  <c:v>129.35</c:v>
                </c:pt>
                <c:pt idx="446">
                  <c:v>129.74</c:v>
                </c:pt>
                <c:pt idx="447">
                  <c:v>129.79</c:v>
                </c:pt>
                <c:pt idx="448">
                  <c:v>129.25</c:v>
                </c:pt>
                <c:pt idx="449">
                  <c:v>129.29</c:v>
                </c:pt>
                <c:pt idx="450">
                  <c:v>130.02000000000001</c:v>
                </c:pt>
                <c:pt idx="451">
                  <c:v>129.04</c:v>
                </c:pt>
                <c:pt idx="452">
                  <c:v>128.85</c:v>
                </c:pt>
                <c:pt idx="453">
                  <c:v>128.25</c:v>
                </c:pt>
                <c:pt idx="454">
                  <c:v>128.72999999999999</c:v>
                </c:pt>
                <c:pt idx="455">
                  <c:v>129.41</c:v>
                </c:pt>
                <c:pt idx="456">
                  <c:v>129.96</c:v>
                </c:pt>
                <c:pt idx="457">
                  <c:v>131.84</c:v>
                </c:pt>
                <c:pt idx="458">
                  <c:v>132.26</c:v>
                </c:pt>
                <c:pt idx="459">
                  <c:v>131.12</c:v>
                </c:pt>
                <c:pt idx="460">
                  <c:v>131.36000000000001</c:v>
                </c:pt>
                <c:pt idx="461">
                  <c:v>131.16999999999999</c:v>
                </c:pt>
                <c:pt idx="462">
                  <c:v>130.80000000000001</c:v>
                </c:pt>
                <c:pt idx="463">
                  <c:v>131.52000000000001</c:v>
                </c:pt>
                <c:pt idx="464">
                  <c:v>131.82</c:v>
                </c:pt>
                <c:pt idx="465">
                  <c:v>132.66999999999999</c:v>
                </c:pt>
                <c:pt idx="466">
                  <c:v>133.43</c:v>
                </c:pt>
                <c:pt idx="467">
                  <c:v>133.06</c:v>
                </c:pt>
                <c:pt idx="468">
                  <c:v>132.93</c:v>
                </c:pt>
                <c:pt idx="469">
                  <c:v>132.74</c:v>
                </c:pt>
                <c:pt idx="470">
                  <c:v>132.44</c:v>
                </c:pt>
                <c:pt idx="471">
                  <c:v>132.22999999999999</c:v>
                </c:pt>
                <c:pt idx="472">
                  <c:v>131.44</c:v>
                </c:pt>
                <c:pt idx="473">
                  <c:v>131.88999999999999</c:v>
                </c:pt>
                <c:pt idx="474">
                  <c:v>132.16999999999999</c:v>
                </c:pt>
                <c:pt idx="475">
                  <c:v>132.21</c:v>
                </c:pt>
                <c:pt idx="476">
                  <c:v>133.21</c:v>
                </c:pt>
                <c:pt idx="477">
                  <c:v>133.91</c:v>
                </c:pt>
                <c:pt idx="478">
                  <c:v>132.97999999999999</c:v>
                </c:pt>
                <c:pt idx="479">
                  <c:v>131.41</c:v>
                </c:pt>
                <c:pt idx="480">
                  <c:v>131.91999999999999</c:v>
                </c:pt>
                <c:pt idx="481">
                  <c:v>132.46</c:v>
                </c:pt>
                <c:pt idx="482">
                  <c:v>134.16</c:v>
                </c:pt>
                <c:pt idx="483">
                  <c:v>133.74</c:v>
                </c:pt>
                <c:pt idx="484">
                  <c:v>136.01</c:v>
                </c:pt>
                <c:pt idx="485">
                  <c:v>136.59</c:v>
                </c:pt>
                <c:pt idx="486">
                  <c:v>137.04</c:v>
                </c:pt>
                <c:pt idx="487">
                  <c:v>136.66999999999999</c:v>
                </c:pt>
                <c:pt idx="488">
                  <c:v>136.38999999999999</c:v>
                </c:pt>
                <c:pt idx="489">
                  <c:v>135.68</c:v>
                </c:pt>
                <c:pt idx="490">
                  <c:v>135.56</c:v>
                </c:pt>
                <c:pt idx="491">
                  <c:v>134.74</c:v>
                </c:pt>
                <c:pt idx="492">
                  <c:v>134.41999999999999</c:v>
                </c:pt>
                <c:pt idx="493">
                  <c:v>135.29</c:v>
                </c:pt>
                <c:pt idx="494">
                  <c:v>135.29</c:v>
                </c:pt>
                <c:pt idx="495">
                  <c:v>134.75</c:v>
                </c:pt>
                <c:pt idx="496">
                  <c:v>134.13999999999999</c:v>
                </c:pt>
                <c:pt idx="497">
                  <c:v>134.43</c:v>
                </c:pt>
                <c:pt idx="498">
                  <c:v>135.83000000000001</c:v>
                </c:pt>
                <c:pt idx="499">
                  <c:v>134.74</c:v>
                </c:pt>
                <c:pt idx="500">
                  <c:v>134.38999999999999</c:v>
                </c:pt>
                <c:pt idx="501">
                  <c:v>134.80000000000001</c:v>
                </c:pt>
                <c:pt idx="502">
                  <c:v>131.47</c:v>
                </c:pt>
                <c:pt idx="503">
                  <c:v>131.81</c:v>
                </c:pt>
                <c:pt idx="504">
                  <c:v>133.11000000000001</c:v>
                </c:pt>
                <c:pt idx="505">
                  <c:v>132.46</c:v>
                </c:pt>
                <c:pt idx="506">
                  <c:v>132.55000000000001</c:v>
                </c:pt>
                <c:pt idx="507">
                  <c:v>133.79</c:v>
                </c:pt>
                <c:pt idx="508">
                  <c:v>133.71</c:v>
                </c:pt>
                <c:pt idx="509">
                  <c:v>132.9</c:v>
                </c:pt>
                <c:pt idx="510">
                  <c:v>132.66</c:v>
                </c:pt>
                <c:pt idx="511">
                  <c:v>131.69999999999999</c:v>
                </c:pt>
                <c:pt idx="512">
                  <c:v>131.69999999999999</c:v>
                </c:pt>
                <c:pt idx="513">
                  <c:v>133.31</c:v>
                </c:pt>
                <c:pt idx="514">
                  <c:v>133.68</c:v>
                </c:pt>
                <c:pt idx="515">
                  <c:v>133.94999999999999</c:v>
                </c:pt>
                <c:pt idx="516">
                  <c:v>133.78</c:v>
                </c:pt>
                <c:pt idx="517">
                  <c:v>134.15</c:v>
                </c:pt>
                <c:pt idx="518">
                  <c:v>134.36000000000001</c:v>
                </c:pt>
                <c:pt idx="519">
                  <c:v>133.66999999999999</c:v>
                </c:pt>
                <c:pt idx="520">
                  <c:v>132.1</c:v>
                </c:pt>
                <c:pt idx="521">
                  <c:v>132.29</c:v>
                </c:pt>
                <c:pt idx="522">
                  <c:v>131.78</c:v>
                </c:pt>
                <c:pt idx="523">
                  <c:v>131.44999999999999</c:v>
                </c:pt>
                <c:pt idx="524">
                  <c:v>131.68</c:v>
                </c:pt>
                <c:pt idx="525">
                  <c:v>131.56</c:v>
                </c:pt>
                <c:pt idx="526">
                  <c:v>130.76</c:v>
                </c:pt>
                <c:pt idx="527">
                  <c:v>130.31</c:v>
                </c:pt>
                <c:pt idx="528">
                  <c:v>129.65</c:v>
                </c:pt>
                <c:pt idx="529">
                  <c:v>128.66999999999999</c:v>
                </c:pt>
                <c:pt idx="530">
                  <c:v>127.09</c:v>
                </c:pt>
                <c:pt idx="531">
                  <c:v>128.04</c:v>
                </c:pt>
                <c:pt idx="532">
                  <c:v>129.1</c:v>
                </c:pt>
                <c:pt idx="533">
                  <c:v>129.47</c:v>
                </c:pt>
                <c:pt idx="534">
                  <c:v>129.91999999999999</c:v>
                </c:pt>
                <c:pt idx="535">
                  <c:v>130.31</c:v>
                </c:pt>
                <c:pt idx="536">
                  <c:v>130.22999999999999</c:v>
                </c:pt>
                <c:pt idx="537">
                  <c:v>131.56</c:v>
                </c:pt>
                <c:pt idx="538">
                  <c:v>130.91</c:v>
                </c:pt>
                <c:pt idx="539">
                  <c:v>130.80000000000001</c:v>
                </c:pt>
                <c:pt idx="540">
                  <c:v>128.13999999999999</c:v>
                </c:pt>
                <c:pt idx="541">
                  <c:v>126.54</c:v>
                </c:pt>
                <c:pt idx="542">
                  <c:v>127.64</c:v>
                </c:pt>
                <c:pt idx="543">
                  <c:v>130.1</c:v>
                </c:pt>
                <c:pt idx="544">
                  <c:v>130.25</c:v>
                </c:pt>
                <c:pt idx="545">
                  <c:v>131</c:v>
                </c:pt>
                <c:pt idx="546">
                  <c:v>130.12</c:v>
                </c:pt>
                <c:pt idx="547">
                  <c:v>131.46</c:v>
                </c:pt>
                <c:pt idx="548">
                  <c:v>130.1</c:v>
                </c:pt>
                <c:pt idx="549">
                  <c:v>130.47999999999999</c:v>
                </c:pt>
                <c:pt idx="550">
                  <c:v>131.57</c:v>
                </c:pt>
                <c:pt idx="551">
                  <c:v>132.44</c:v>
                </c:pt>
                <c:pt idx="552">
                  <c:v>133.03</c:v>
                </c:pt>
                <c:pt idx="553">
                  <c:v>133.09</c:v>
                </c:pt>
                <c:pt idx="554">
                  <c:v>131.69999999999999</c:v>
                </c:pt>
                <c:pt idx="555">
                  <c:v>132.26</c:v>
                </c:pt>
                <c:pt idx="556">
                  <c:v>130.94</c:v>
                </c:pt>
                <c:pt idx="557">
                  <c:v>131.26</c:v>
                </c:pt>
                <c:pt idx="558">
                  <c:v>132.66999999999999</c:v>
                </c:pt>
                <c:pt idx="559">
                  <c:v>132.80000000000001</c:v>
                </c:pt>
                <c:pt idx="560">
                  <c:v>133.93</c:v>
                </c:pt>
                <c:pt idx="561">
                  <c:v>135.58000000000001</c:v>
                </c:pt>
                <c:pt idx="562">
                  <c:v>136.55000000000001</c:v>
                </c:pt>
                <c:pt idx="563">
                  <c:v>137.46</c:v>
                </c:pt>
                <c:pt idx="564">
                  <c:v>138.03</c:v>
                </c:pt>
                <c:pt idx="565">
                  <c:v>137.44</c:v>
                </c:pt>
                <c:pt idx="566">
                  <c:v>136.91</c:v>
                </c:pt>
                <c:pt idx="567">
                  <c:v>136.85</c:v>
                </c:pt>
                <c:pt idx="568">
                  <c:v>136.9</c:v>
                </c:pt>
                <c:pt idx="569">
                  <c:v>136.35</c:v>
                </c:pt>
                <c:pt idx="570">
                  <c:v>137.69</c:v>
                </c:pt>
                <c:pt idx="571">
                  <c:v>137.74</c:v>
                </c:pt>
                <c:pt idx="572">
                  <c:v>138.44999999999999</c:v>
                </c:pt>
                <c:pt idx="573">
                  <c:v>138.94</c:v>
                </c:pt>
                <c:pt idx="574">
                  <c:v>140.01</c:v>
                </c:pt>
                <c:pt idx="575">
                  <c:v>139.25</c:v>
                </c:pt>
                <c:pt idx="576">
                  <c:v>137.55000000000001</c:v>
                </c:pt>
                <c:pt idx="577">
                  <c:v>136.91</c:v>
                </c:pt>
                <c:pt idx="578">
                  <c:v>136.33000000000001</c:v>
                </c:pt>
                <c:pt idx="579">
                  <c:v>137.30000000000001</c:v>
                </c:pt>
                <c:pt idx="580">
                  <c:v>138.97999999999999</c:v>
                </c:pt>
                <c:pt idx="581">
                  <c:v>140.88999999999999</c:v>
                </c:pt>
                <c:pt idx="582">
                  <c:v>139.72999999999999</c:v>
                </c:pt>
                <c:pt idx="583">
                  <c:v>139.66999999999999</c:v>
                </c:pt>
                <c:pt idx="584">
                  <c:v>139.77000000000001</c:v>
                </c:pt>
                <c:pt idx="585">
                  <c:v>140.41</c:v>
                </c:pt>
                <c:pt idx="586">
                  <c:v>140.58000000000001</c:v>
                </c:pt>
                <c:pt idx="587">
                  <c:v>141.43</c:v>
                </c:pt>
                <c:pt idx="588">
                  <c:v>142.19</c:v>
                </c:pt>
                <c:pt idx="589">
                  <c:v>142.96</c:v>
                </c:pt>
                <c:pt idx="590">
                  <c:v>142.94</c:v>
                </c:pt>
                <c:pt idx="591">
                  <c:v>142.28</c:v>
                </c:pt>
                <c:pt idx="592">
                  <c:v>142.80000000000001</c:v>
                </c:pt>
                <c:pt idx="593">
                  <c:v>143.19</c:v>
                </c:pt>
                <c:pt idx="594">
                  <c:v>143.46</c:v>
                </c:pt>
                <c:pt idx="595">
                  <c:v>144.54</c:v>
                </c:pt>
                <c:pt idx="596">
                  <c:v>144</c:v>
                </c:pt>
                <c:pt idx="597">
                  <c:v>142.84</c:v>
                </c:pt>
                <c:pt idx="598">
                  <c:v>142.35</c:v>
                </c:pt>
                <c:pt idx="599">
                  <c:v>140.83000000000001</c:v>
                </c:pt>
                <c:pt idx="600">
                  <c:v>141.59</c:v>
                </c:pt>
                <c:pt idx="601">
                  <c:v>141.68</c:v>
                </c:pt>
                <c:pt idx="602">
                  <c:v>140.85</c:v>
                </c:pt>
                <c:pt idx="603">
                  <c:v>141.19999999999999</c:v>
                </c:pt>
                <c:pt idx="604">
                  <c:v>140.32</c:v>
                </c:pt>
                <c:pt idx="605">
                  <c:v>139.9</c:v>
                </c:pt>
                <c:pt idx="606">
                  <c:v>140.33000000000001</c:v>
                </c:pt>
                <c:pt idx="607">
                  <c:v>139.88999999999999</c:v>
                </c:pt>
                <c:pt idx="608">
                  <c:v>139.28</c:v>
                </c:pt>
                <c:pt idx="609">
                  <c:v>141.54</c:v>
                </c:pt>
                <c:pt idx="610">
                  <c:v>141.33000000000001</c:v>
                </c:pt>
                <c:pt idx="611">
                  <c:v>140.91</c:v>
                </c:pt>
                <c:pt idx="612">
                  <c:v>140.82</c:v>
                </c:pt>
                <c:pt idx="613">
                  <c:v>140.94</c:v>
                </c:pt>
                <c:pt idx="614">
                  <c:v>142.04</c:v>
                </c:pt>
                <c:pt idx="615">
                  <c:v>141.38</c:v>
                </c:pt>
                <c:pt idx="616">
                  <c:v>140.94999999999999</c:v>
                </c:pt>
                <c:pt idx="617">
                  <c:v>141.29</c:v>
                </c:pt>
                <c:pt idx="618">
                  <c:v>141.75</c:v>
                </c:pt>
                <c:pt idx="619">
                  <c:v>142.16</c:v>
                </c:pt>
                <c:pt idx="620">
                  <c:v>142.16999999999999</c:v>
                </c:pt>
                <c:pt idx="621">
                  <c:v>142.34</c:v>
                </c:pt>
                <c:pt idx="622">
                  <c:v>141.41999999999999</c:v>
                </c:pt>
                <c:pt idx="623">
                  <c:v>140.96</c:v>
                </c:pt>
                <c:pt idx="624">
                  <c:v>141.88</c:v>
                </c:pt>
                <c:pt idx="625">
                  <c:v>140.88</c:v>
                </c:pt>
                <c:pt idx="626">
                  <c:v>141.24</c:v>
                </c:pt>
                <c:pt idx="627">
                  <c:v>140.97</c:v>
                </c:pt>
                <c:pt idx="628">
                  <c:v>141.27000000000001</c:v>
                </c:pt>
                <c:pt idx="629">
                  <c:v>141.24</c:v>
                </c:pt>
                <c:pt idx="630">
                  <c:v>141.27000000000001</c:v>
                </c:pt>
                <c:pt idx="631">
                  <c:v>141.36000000000001</c:v>
                </c:pt>
                <c:pt idx="632">
                  <c:v>140.81</c:v>
                </c:pt>
                <c:pt idx="633">
                  <c:v>139.85</c:v>
                </c:pt>
                <c:pt idx="634">
                  <c:v>139.81</c:v>
                </c:pt>
                <c:pt idx="635">
                  <c:v>139.28</c:v>
                </c:pt>
                <c:pt idx="636">
                  <c:v>140.31</c:v>
                </c:pt>
                <c:pt idx="637">
                  <c:v>141.13</c:v>
                </c:pt>
                <c:pt idx="638">
                  <c:v>141.18</c:v>
                </c:pt>
                <c:pt idx="639">
                  <c:v>141.52000000000001</c:v>
                </c:pt>
                <c:pt idx="640">
                  <c:v>140.41</c:v>
                </c:pt>
                <c:pt idx="641">
                  <c:v>139.84</c:v>
                </c:pt>
                <c:pt idx="642">
                  <c:v>138.80000000000001</c:v>
                </c:pt>
                <c:pt idx="643">
                  <c:v>138.63999999999999</c:v>
                </c:pt>
                <c:pt idx="644">
                  <c:v>139.18</c:v>
                </c:pt>
                <c:pt idx="645">
                  <c:v>139.18</c:v>
                </c:pt>
                <c:pt idx="646">
                  <c:v>139.1</c:v>
                </c:pt>
                <c:pt idx="647">
                  <c:v>138.88</c:v>
                </c:pt>
                <c:pt idx="648">
                  <c:v>139.06</c:v>
                </c:pt>
                <c:pt idx="649">
                  <c:v>140.47999999999999</c:v>
                </c:pt>
                <c:pt idx="650">
                  <c:v>140.76</c:v>
                </c:pt>
                <c:pt idx="651">
                  <c:v>141.16</c:v>
                </c:pt>
                <c:pt idx="652">
                  <c:v>141.79</c:v>
                </c:pt>
                <c:pt idx="653">
                  <c:v>140.05000000000001</c:v>
                </c:pt>
                <c:pt idx="654">
                  <c:v>139.02000000000001</c:v>
                </c:pt>
                <c:pt idx="655">
                  <c:v>139.16</c:v>
                </c:pt>
                <c:pt idx="656">
                  <c:v>138.94</c:v>
                </c:pt>
                <c:pt idx="657">
                  <c:v>138.68</c:v>
                </c:pt>
                <c:pt idx="658">
                  <c:v>136.96</c:v>
                </c:pt>
                <c:pt idx="659">
                  <c:v>135.91</c:v>
                </c:pt>
                <c:pt idx="660">
                  <c:v>136.79</c:v>
                </c:pt>
                <c:pt idx="661">
                  <c:v>138.58000000000001</c:v>
                </c:pt>
                <c:pt idx="662">
                  <c:v>138.77000000000001</c:v>
                </c:pt>
                <c:pt idx="663">
                  <c:v>138.93</c:v>
                </c:pt>
                <c:pt idx="664">
                  <c:v>138.91999999999999</c:v>
                </c:pt>
                <c:pt idx="665">
                  <c:v>139.65</c:v>
                </c:pt>
                <c:pt idx="666">
                  <c:v>139.36000000000001</c:v>
                </c:pt>
                <c:pt idx="667">
                  <c:v>139.4</c:v>
                </c:pt>
                <c:pt idx="668">
                  <c:v>140.07</c:v>
                </c:pt>
                <c:pt idx="669">
                  <c:v>140.52000000000001</c:v>
                </c:pt>
                <c:pt idx="670">
                  <c:v>140.26</c:v>
                </c:pt>
                <c:pt idx="671">
                  <c:v>139.49</c:v>
                </c:pt>
                <c:pt idx="672">
                  <c:v>139.32</c:v>
                </c:pt>
                <c:pt idx="673">
                  <c:v>139.69999999999999</c:v>
                </c:pt>
                <c:pt idx="674">
                  <c:v>140.97</c:v>
                </c:pt>
                <c:pt idx="675">
                  <c:v>141.78</c:v>
                </c:pt>
                <c:pt idx="676">
                  <c:v>141.93</c:v>
                </c:pt>
                <c:pt idx="677">
                  <c:v>141.97</c:v>
                </c:pt>
                <c:pt idx="678">
                  <c:v>141.80000000000001</c:v>
                </c:pt>
                <c:pt idx="679">
                  <c:v>140.86000000000001</c:v>
                </c:pt>
                <c:pt idx="680">
                  <c:v>140.41</c:v>
                </c:pt>
                <c:pt idx="681">
                  <c:v>140.86000000000001</c:v>
                </c:pt>
                <c:pt idx="682">
                  <c:v>141.62</c:v>
                </c:pt>
                <c:pt idx="683">
                  <c:v>141.29</c:v>
                </c:pt>
                <c:pt idx="684">
                  <c:v>141.84</c:v>
                </c:pt>
                <c:pt idx="685">
                  <c:v>141.41</c:v>
                </c:pt>
                <c:pt idx="686">
                  <c:v>140.9</c:v>
                </c:pt>
                <c:pt idx="687">
                  <c:v>140.47999999999999</c:v>
                </c:pt>
                <c:pt idx="688">
                  <c:v>139.55000000000001</c:v>
                </c:pt>
                <c:pt idx="689">
                  <c:v>141.1</c:v>
                </c:pt>
                <c:pt idx="690">
                  <c:v>143.53</c:v>
                </c:pt>
                <c:pt idx="691">
                  <c:v>144.82</c:v>
                </c:pt>
                <c:pt idx="692">
                  <c:v>145.97</c:v>
                </c:pt>
                <c:pt idx="693">
                  <c:v>145.05000000000001</c:v>
                </c:pt>
                <c:pt idx="694">
                  <c:v>144.94</c:v>
                </c:pt>
                <c:pt idx="695">
                  <c:v>145.71</c:v>
                </c:pt>
                <c:pt idx="696">
                  <c:v>145.01</c:v>
                </c:pt>
                <c:pt idx="697">
                  <c:v>143.93</c:v>
                </c:pt>
                <c:pt idx="698">
                  <c:v>143.54</c:v>
                </c:pt>
                <c:pt idx="699">
                  <c:v>143.99</c:v>
                </c:pt>
                <c:pt idx="700">
                  <c:v>144.15</c:v>
                </c:pt>
                <c:pt idx="701">
                  <c:v>144.22</c:v>
                </c:pt>
                <c:pt idx="702">
                  <c:v>145.16</c:v>
                </c:pt>
                <c:pt idx="703">
                  <c:v>145.05000000000001</c:v>
                </c:pt>
                <c:pt idx="704">
                  <c:v>145.79</c:v>
                </c:pt>
                <c:pt idx="705">
                  <c:v>145.77000000000001</c:v>
                </c:pt>
                <c:pt idx="706">
                  <c:v>145.07</c:v>
                </c:pt>
                <c:pt idx="707">
                  <c:v>144.94</c:v>
                </c:pt>
                <c:pt idx="708">
                  <c:v>144.86000000000001</c:v>
                </c:pt>
                <c:pt idx="709">
                  <c:v>145.44999999999999</c:v>
                </c:pt>
                <c:pt idx="710">
                  <c:v>144.38999999999999</c:v>
                </c:pt>
                <c:pt idx="711">
                  <c:v>143.97</c:v>
                </c:pt>
                <c:pt idx="712">
                  <c:v>143.80000000000001</c:v>
                </c:pt>
                <c:pt idx="713">
                  <c:v>143.53</c:v>
                </c:pt>
                <c:pt idx="714">
                  <c:v>144.32</c:v>
                </c:pt>
                <c:pt idx="715">
                  <c:v>144.61000000000001</c:v>
                </c:pt>
                <c:pt idx="716">
                  <c:v>145.59</c:v>
                </c:pt>
                <c:pt idx="717">
                  <c:v>146.56</c:v>
                </c:pt>
                <c:pt idx="718">
                  <c:v>146.09</c:v>
                </c:pt>
                <c:pt idx="719">
                  <c:v>146.04</c:v>
                </c:pt>
                <c:pt idx="720">
                  <c:v>146.38999999999999</c:v>
                </c:pt>
                <c:pt idx="721">
                  <c:v>147.22</c:v>
                </c:pt>
                <c:pt idx="722">
                  <c:v>146.63999999999999</c:v>
                </c:pt>
                <c:pt idx="723">
                  <c:v>146.84</c:v>
                </c:pt>
                <c:pt idx="724">
                  <c:v>147.94999999999999</c:v>
                </c:pt>
                <c:pt idx="725">
                  <c:v>146.86000000000001</c:v>
                </c:pt>
                <c:pt idx="726">
                  <c:v>146.62</c:v>
                </c:pt>
                <c:pt idx="727">
                  <c:v>148.34</c:v>
                </c:pt>
                <c:pt idx="728">
                  <c:v>146.72</c:v>
                </c:pt>
                <c:pt idx="729">
                  <c:v>147.74</c:v>
                </c:pt>
                <c:pt idx="730">
                  <c:v>148.71</c:v>
                </c:pt>
                <c:pt idx="731">
                  <c:v>149.76</c:v>
                </c:pt>
                <c:pt idx="732">
                  <c:v>150.44</c:v>
                </c:pt>
                <c:pt idx="733">
                  <c:v>150.49</c:v>
                </c:pt>
                <c:pt idx="734">
                  <c:v>151.91</c:v>
                </c:pt>
                <c:pt idx="735">
                  <c:v>152.47999999999999</c:v>
                </c:pt>
                <c:pt idx="736">
                  <c:v>151.78</c:v>
                </c:pt>
                <c:pt idx="737">
                  <c:v>153.36000000000001</c:v>
                </c:pt>
                <c:pt idx="738">
                  <c:v>153.62</c:v>
                </c:pt>
                <c:pt idx="739">
                  <c:v>153.38</c:v>
                </c:pt>
                <c:pt idx="740">
                  <c:v>153.86000000000001</c:v>
                </c:pt>
                <c:pt idx="741">
                  <c:v>154.58000000000001</c:v>
                </c:pt>
                <c:pt idx="742">
                  <c:v>154.09</c:v>
                </c:pt>
                <c:pt idx="743">
                  <c:v>153.9</c:v>
                </c:pt>
                <c:pt idx="744">
                  <c:v>154.35</c:v>
                </c:pt>
                <c:pt idx="745">
                  <c:v>154.43</c:v>
                </c:pt>
                <c:pt idx="746">
                  <c:v>153.96</c:v>
                </c:pt>
                <c:pt idx="747">
                  <c:v>153.69</c:v>
                </c:pt>
                <c:pt idx="748">
                  <c:v>154.47</c:v>
                </c:pt>
                <c:pt idx="749">
                  <c:v>155.38999999999999</c:v>
                </c:pt>
                <c:pt idx="750">
                  <c:v>156.05000000000001</c:v>
                </c:pt>
                <c:pt idx="751">
                  <c:v>155.88</c:v>
                </c:pt>
                <c:pt idx="752">
                  <c:v>155.99</c:v>
                </c:pt>
                <c:pt idx="753">
                  <c:v>154.91999999999999</c:v>
                </c:pt>
                <c:pt idx="754">
                  <c:v>154.44</c:v>
                </c:pt>
                <c:pt idx="755">
                  <c:v>152.11000000000001</c:v>
                </c:pt>
                <c:pt idx="756">
                  <c:v>153.01</c:v>
                </c:pt>
                <c:pt idx="757">
                  <c:v>153.26</c:v>
                </c:pt>
                <c:pt idx="758">
                  <c:v>155.04</c:v>
                </c:pt>
                <c:pt idx="759">
                  <c:v>155.69999999999999</c:v>
                </c:pt>
                <c:pt idx="760">
                  <c:v>155.43</c:v>
                </c:pt>
                <c:pt idx="761">
                  <c:v>152.99</c:v>
                </c:pt>
                <c:pt idx="762">
                  <c:v>153.19999999999999</c:v>
                </c:pt>
                <c:pt idx="763">
                  <c:v>152.4</c:v>
                </c:pt>
                <c:pt idx="764">
                  <c:v>151.18</c:v>
                </c:pt>
                <c:pt idx="765">
                  <c:v>152.12</c:v>
                </c:pt>
                <c:pt idx="766">
                  <c:v>153.27000000000001</c:v>
                </c:pt>
                <c:pt idx="767">
                  <c:v>155.22</c:v>
                </c:pt>
                <c:pt idx="768">
                  <c:v>156.26</c:v>
                </c:pt>
                <c:pt idx="769">
                  <c:v>157.06</c:v>
                </c:pt>
                <c:pt idx="770">
                  <c:v>156.72999999999999</c:v>
                </c:pt>
                <c:pt idx="771">
                  <c:v>157.01</c:v>
                </c:pt>
                <c:pt idx="772">
                  <c:v>156.83000000000001</c:v>
                </c:pt>
                <c:pt idx="773">
                  <c:v>155.78</c:v>
                </c:pt>
                <c:pt idx="774">
                  <c:v>157.47999999999999</c:v>
                </c:pt>
                <c:pt idx="775">
                  <c:v>158.29</c:v>
                </c:pt>
                <c:pt idx="776">
                  <c:v>158.96</c:v>
                </c:pt>
                <c:pt idx="777">
                  <c:v>159.75</c:v>
                </c:pt>
                <c:pt idx="778">
                  <c:v>159.99</c:v>
                </c:pt>
                <c:pt idx="779">
                  <c:v>160.13999999999999</c:v>
                </c:pt>
                <c:pt idx="780">
                  <c:v>161.65</c:v>
                </c:pt>
                <c:pt idx="781">
                  <c:v>161.72999999999999</c:v>
                </c:pt>
                <c:pt idx="782">
                  <c:v>162.68</c:v>
                </c:pt>
                <c:pt idx="783">
                  <c:v>164.78</c:v>
                </c:pt>
                <c:pt idx="784">
                  <c:v>163.81</c:v>
                </c:pt>
                <c:pt idx="785">
                  <c:v>165.31</c:v>
                </c:pt>
                <c:pt idx="786">
                  <c:v>165.75</c:v>
                </c:pt>
                <c:pt idx="787">
                  <c:v>165.78</c:v>
                </c:pt>
                <c:pt idx="788">
                  <c:v>164.96</c:v>
                </c:pt>
                <c:pt idx="789">
                  <c:v>162.4</c:v>
                </c:pt>
                <c:pt idx="790">
                  <c:v>162.01</c:v>
                </c:pt>
                <c:pt idx="791">
                  <c:v>161.52000000000001</c:v>
                </c:pt>
                <c:pt idx="792">
                  <c:v>163.41999999999999</c:v>
                </c:pt>
                <c:pt idx="793">
                  <c:v>161.25</c:v>
                </c:pt>
                <c:pt idx="794">
                  <c:v>160.36000000000001</c:v>
                </c:pt>
                <c:pt idx="795">
                  <c:v>159.41999999999999</c:v>
                </c:pt>
                <c:pt idx="796">
                  <c:v>158.63999999999999</c:v>
                </c:pt>
                <c:pt idx="797">
                  <c:v>158.26</c:v>
                </c:pt>
                <c:pt idx="798">
                  <c:v>155.71</c:v>
                </c:pt>
                <c:pt idx="799">
                  <c:v>154.78</c:v>
                </c:pt>
                <c:pt idx="800">
                  <c:v>156.06</c:v>
                </c:pt>
                <c:pt idx="801">
                  <c:v>156.71</c:v>
                </c:pt>
                <c:pt idx="802">
                  <c:v>154.77000000000001</c:v>
                </c:pt>
                <c:pt idx="803">
                  <c:v>153.54</c:v>
                </c:pt>
                <c:pt idx="804">
                  <c:v>154.53</c:v>
                </c:pt>
                <c:pt idx="805">
                  <c:v>154.1</c:v>
                </c:pt>
                <c:pt idx="806">
                  <c:v>155.41999999999999</c:v>
                </c:pt>
                <c:pt idx="807">
                  <c:v>155.5</c:v>
                </c:pt>
                <c:pt idx="808">
                  <c:v>154.6</c:v>
                </c:pt>
                <c:pt idx="809">
                  <c:v>151.82</c:v>
                </c:pt>
                <c:pt idx="810">
                  <c:v>151.97</c:v>
                </c:pt>
                <c:pt idx="811">
                  <c:v>150.28</c:v>
                </c:pt>
                <c:pt idx="812">
                  <c:v>151.68</c:v>
                </c:pt>
                <c:pt idx="813">
                  <c:v>153.97</c:v>
                </c:pt>
                <c:pt idx="814">
                  <c:v>155.15</c:v>
                </c:pt>
                <c:pt idx="815">
                  <c:v>155.01</c:v>
                </c:pt>
                <c:pt idx="816">
                  <c:v>155.76</c:v>
                </c:pt>
                <c:pt idx="817">
                  <c:v>155.84</c:v>
                </c:pt>
                <c:pt idx="818">
                  <c:v>156.1</c:v>
                </c:pt>
                <c:pt idx="819">
                  <c:v>157.68</c:v>
                </c:pt>
                <c:pt idx="820">
                  <c:v>158.74</c:v>
                </c:pt>
                <c:pt idx="821">
                  <c:v>159.26</c:v>
                </c:pt>
                <c:pt idx="822">
                  <c:v>161.44999999999999</c:v>
                </c:pt>
                <c:pt idx="823">
                  <c:v>161.09</c:v>
                </c:pt>
                <c:pt idx="824">
                  <c:v>161.38</c:v>
                </c:pt>
                <c:pt idx="825">
                  <c:v>161.38</c:v>
                </c:pt>
                <c:pt idx="826">
                  <c:v>161.72</c:v>
                </c:pt>
                <c:pt idx="827">
                  <c:v>160.61000000000001</c:v>
                </c:pt>
                <c:pt idx="828">
                  <c:v>161.44999999999999</c:v>
                </c:pt>
                <c:pt idx="829">
                  <c:v>162.29</c:v>
                </c:pt>
                <c:pt idx="830">
                  <c:v>161.93</c:v>
                </c:pt>
                <c:pt idx="831">
                  <c:v>162.05000000000001</c:v>
                </c:pt>
                <c:pt idx="832">
                  <c:v>161.69999999999999</c:v>
                </c:pt>
                <c:pt idx="833">
                  <c:v>161.35</c:v>
                </c:pt>
                <c:pt idx="834">
                  <c:v>161.25</c:v>
                </c:pt>
                <c:pt idx="835">
                  <c:v>160.72</c:v>
                </c:pt>
                <c:pt idx="836">
                  <c:v>160.05000000000001</c:v>
                </c:pt>
                <c:pt idx="837">
                  <c:v>160.33000000000001</c:v>
                </c:pt>
                <c:pt idx="838">
                  <c:v>159.68</c:v>
                </c:pt>
                <c:pt idx="839">
                  <c:v>162.05000000000001</c:v>
                </c:pt>
                <c:pt idx="840">
                  <c:v>162.49</c:v>
                </c:pt>
                <c:pt idx="841">
                  <c:v>162.68</c:v>
                </c:pt>
                <c:pt idx="842">
                  <c:v>161.65</c:v>
                </c:pt>
                <c:pt idx="843">
                  <c:v>160.62</c:v>
                </c:pt>
                <c:pt idx="844">
                  <c:v>160.72</c:v>
                </c:pt>
                <c:pt idx="845">
                  <c:v>161.06</c:v>
                </c:pt>
                <c:pt idx="846">
                  <c:v>161.47</c:v>
                </c:pt>
                <c:pt idx="847">
                  <c:v>162.51</c:v>
                </c:pt>
                <c:pt idx="848">
                  <c:v>162.26</c:v>
                </c:pt>
                <c:pt idx="849">
                  <c:v>160.44</c:v>
                </c:pt>
                <c:pt idx="850">
                  <c:v>159.56</c:v>
                </c:pt>
                <c:pt idx="851">
                  <c:v>158.63999999999999</c:v>
                </c:pt>
                <c:pt idx="852">
                  <c:v>157.59</c:v>
                </c:pt>
                <c:pt idx="853">
                  <c:v>157.08000000000001</c:v>
                </c:pt>
                <c:pt idx="854">
                  <c:v>158.28</c:v>
                </c:pt>
                <c:pt idx="855">
                  <c:v>158.75</c:v>
                </c:pt>
                <c:pt idx="856">
                  <c:v>158.68</c:v>
                </c:pt>
                <c:pt idx="857">
                  <c:v>156.38999999999999</c:v>
                </c:pt>
                <c:pt idx="858">
                  <c:v>156.46</c:v>
                </c:pt>
                <c:pt idx="859">
                  <c:v>157.97999999999999</c:v>
                </c:pt>
                <c:pt idx="860">
                  <c:v>157.56</c:v>
                </c:pt>
                <c:pt idx="861">
                  <c:v>158.52000000000001</c:v>
                </c:pt>
                <c:pt idx="862">
                  <c:v>159.47999999999999</c:v>
                </c:pt>
                <c:pt idx="863">
                  <c:v>160.07</c:v>
                </c:pt>
                <c:pt idx="864">
                  <c:v>161.16999999999999</c:v>
                </c:pt>
                <c:pt idx="865">
                  <c:v>161.22</c:v>
                </c:pt>
                <c:pt idx="866">
                  <c:v>161.55000000000001</c:v>
                </c:pt>
                <c:pt idx="867">
                  <c:v>162.84</c:v>
                </c:pt>
                <c:pt idx="868">
                  <c:v>163.1</c:v>
                </c:pt>
                <c:pt idx="869">
                  <c:v>162.76</c:v>
                </c:pt>
                <c:pt idx="870">
                  <c:v>163.43</c:v>
                </c:pt>
                <c:pt idx="871">
                  <c:v>163.68</c:v>
                </c:pt>
                <c:pt idx="872">
                  <c:v>163.77000000000001</c:v>
                </c:pt>
                <c:pt idx="873">
                  <c:v>165.23</c:v>
                </c:pt>
                <c:pt idx="874">
                  <c:v>164.14</c:v>
                </c:pt>
                <c:pt idx="875">
                  <c:v>163.55000000000001</c:v>
                </c:pt>
                <c:pt idx="876">
                  <c:v>163.22</c:v>
                </c:pt>
                <c:pt idx="877">
                  <c:v>163</c:v>
                </c:pt>
                <c:pt idx="878">
                  <c:v>162.63999999999999</c:v>
                </c:pt>
                <c:pt idx="879">
                  <c:v>163.36000000000001</c:v>
                </c:pt>
                <c:pt idx="880">
                  <c:v>162.49</c:v>
                </c:pt>
                <c:pt idx="881">
                  <c:v>161.33000000000001</c:v>
                </c:pt>
                <c:pt idx="882">
                  <c:v>162.49</c:v>
                </c:pt>
                <c:pt idx="883">
                  <c:v>161.44999999999999</c:v>
                </c:pt>
                <c:pt idx="884">
                  <c:v>160.25</c:v>
                </c:pt>
                <c:pt idx="885">
                  <c:v>161.04</c:v>
                </c:pt>
                <c:pt idx="886">
                  <c:v>160.16</c:v>
                </c:pt>
                <c:pt idx="887">
                  <c:v>158.55000000000001</c:v>
                </c:pt>
                <c:pt idx="888">
                  <c:v>159.16999999999999</c:v>
                </c:pt>
                <c:pt idx="889">
                  <c:v>161.80000000000001</c:v>
                </c:pt>
                <c:pt idx="890">
                  <c:v>162.53</c:v>
                </c:pt>
                <c:pt idx="891">
                  <c:v>162.80000000000001</c:v>
                </c:pt>
                <c:pt idx="892">
                  <c:v>163.35</c:v>
                </c:pt>
                <c:pt idx="893">
                  <c:v>164.72</c:v>
                </c:pt>
                <c:pt idx="894">
                  <c:v>164.36</c:v>
                </c:pt>
                <c:pt idx="895">
                  <c:v>165.18</c:v>
                </c:pt>
                <c:pt idx="896">
                  <c:v>165.6</c:v>
                </c:pt>
                <c:pt idx="897">
                  <c:v>165.54</c:v>
                </c:pt>
                <c:pt idx="898">
                  <c:v>164.53</c:v>
                </c:pt>
                <c:pt idx="899">
                  <c:v>164.91</c:v>
                </c:pt>
                <c:pt idx="900">
                  <c:v>164.97</c:v>
                </c:pt>
                <c:pt idx="901">
                  <c:v>165.31</c:v>
                </c:pt>
                <c:pt idx="902">
                  <c:v>165.9</c:v>
                </c:pt>
                <c:pt idx="903">
                  <c:v>165.68</c:v>
                </c:pt>
                <c:pt idx="904">
                  <c:v>166.92</c:v>
                </c:pt>
                <c:pt idx="905">
                  <c:v>167.66</c:v>
                </c:pt>
                <c:pt idx="906">
                  <c:v>167.99</c:v>
                </c:pt>
                <c:pt idx="907">
                  <c:v>168</c:v>
                </c:pt>
                <c:pt idx="908">
                  <c:v>168.31</c:v>
                </c:pt>
                <c:pt idx="909">
                  <c:v>168.15</c:v>
                </c:pt>
                <c:pt idx="910">
                  <c:v>169.31</c:v>
                </c:pt>
                <c:pt idx="911">
                  <c:v>169.09</c:v>
                </c:pt>
                <c:pt idx="912">
                  <c:v>168.51</c:v>
                </c:pt>
                <c:pt idx="913">
                  <c:v>169.22</c:v>
                </c:pt>
                <c:pt idx="914">
                  <c:v>169.77</c:v>
                </c:pt>
                <c:pt idx="915">
                  <c:v>170.48</c:v>
                </c:pt>
                <c:pt idx="916">
                  <c:v>170.03</c:v>
                </c:pt>
                <c:pt idx="917">
                  <c:v>169.37</c:v>
                </c:pt>
                <c:pt idx="918">
                  <c:v>169.6</c:v>
                </c:pt>
                <c:pt idx="919">
                  <c:v>170.13</c:v>
                </c:pt>
                <c:pt idx="920">
                  <c:v>170.05</c:v>
                </c:pt>
                <c:pt idx="921">
                  <c:v>170.37</c:v>
                </c:pt>
                <c:pt idx="922">
                  <c:v>169.52</c:v>
                </c:pt>
                <c:pt idx="923">
                  <c:v>169.65</c:v>
                </c:pt>
                <c:pt idx="924">
                  <c:v>169.8</c:v>
                </c:pt>
                <c:pt idx="925">
                  <c:v>169.56</c:v>
                </c:pt>
                <c:pt idx="926">
                  <c:v>169.54</c:v>
                </c:pt>
                <c:pt idx="927">
                  <c:v>168.33</c:v>
                </c:pt>
                <c:pt idx="928">
                  <c:v>167.79</c:v>
                </c:pt>
                <c:pt idx="929">
                  <c:v>165.96</c:v>
                </c:pt>
                <c:pt idx="930">
                  <c:v>167.03</c:v>
                </c:pt>
                <c:pt idx="931">
                  <c:v>167.16</c:v>
                </c:pt>
                <c:pt idx="932">
                  <c:v>166.19</c:v>
                </c:pt>
                <c:pt idx="933">
                  <c:v>164.57</c:v>
                </c:pt>
                <c:pt idx="934">
                  <c:v>163.81</c:v>
                </c:pt>
                <c:pt idx="935">
                  <c:v>163.96</c:v>
                </c:pt>
                <c:pt idx="936">
                  <c:v>164.72</c:v>
                </c:pt>
                <c:pt idx="937">
                  <c:v>164.45</c:v>
                </c:pt>
                <c:pt idx="938">
                  <c:v>166.22</c:v>
                </c:pt>
                <c:pt idx="939">
                  <c:v>167.87</c:v>
                </c:pt>
                <c:pt idx="940">
                  <c:v>168.68</c:v>
                </c:pt>
                <c:pt idx="941">
                  <c:v>169.35</c:v>
                </c:pt>
                <c:pt idx="942">
                  <c:v>170.06</c:v>
                </c:pt>
                <c:pt idx="943">
                  <c:v>170.26</c:v>
                </c:pt>
                <c:pt idx="944">
                  <c:v>170.06</c:v>
                </c:pt>
                <c:pt idx="945">
                  <c:v>170.98</c:v>
                </c:pt>
                <c:pt idx="946">
                  <c:v>170.9</c:v>
                </c:pt>
                <c:pt idx="947">
                  <c:v>171.6</c:v>
                </c:pt>
                <c:pt idx="948">
                  <c:v>170.73</c:v>
                </c:pt>
                <c:pt idx="949">
                  <c:v>171.81</c:v>
                </c:pt>
                <c:pt idx="950">
                  <c:v>172.22</c:v>
                </c:pt>
                <c:pt idx="951">
                  <c:v>172.01</c:v>
                </c:pt>
                <c:pt idx="952">
                  <c:v>171.87</c:v>
                </c:pt>
                <c:pt idx="953">
                  <c:v>171.18</c:v>
                </c:pt>
                <c:pt idx="954">
                  <c:v>171.33</c:v>
                </c:pt>
                <c:pt idx="955">
                  <c:v>173.35</c:v>
                </c:pt>
                <c:pt idx="956">
                  <c:v>173.18</c:v>
                </c:pt>
                <c:pt idx="957">
                  <c:v>173.54</c:v>
                </c:pt>
                <c:pt idx="958">
                  <c:v>173.42</c:v>
                </c:pt>
                <c:pt idx="959">
                  <c:v>173.9</c:v>
                </c:pt>
                <c:pt idx="960">
                  <c:v>173.91</c:v>
                </c:pt>
                <c:pt idx="961">
                  <c:v>171.3</c:v>
                </c:pt>
                <c:pt idx="962">
                  <c:v>167.93</c:v>
                </c:pt>
                <c:pt idx="963">
                  <c:v>166.62</c:v>
                </c:pt>
                <c:pt idx="964">
                  <c:v>167.4</c:v>
                </c:pt>
                <c:pt idx="965">
                  <c:v>166.96</c:v>
                </c:pt>
                <c:pt idx="966">
                  <c:v>168.25</c:v>
                </c:pt>
                <c:pt idx="967">
                  <c:v>168.3</c:v>
                </c:pt>
                <c:pt idx="968">
                  <c:v>165.15</c:v>
                </c:pt>
                <c:pt idx="969">
                  <c:v>164.9</c:v>
                </c:pt>
                <c:pt idx="970">
                  <c:v>164.96</c:v>
                </c:pt>
                <c:pt idx="971">
                  <c:v>166.3</c:v>
                </c:pt>
                <c:pt idx="972">
                  <c:v>168.07</c:v>
                </c:pt>
                <c:pt idx="973">
                  <c:v>168.27</c:v>
                </c:pt>
                <c:pt idx="974">
                  <c:v>169.73</c:v>
                </c:pt>
                <c:pt idx="975">
                  <c:v>171.25</c:v>
                </c:pt>
                <c:pt idx="976">
                  <c:v>170.81</c:v>
                </c:pt>
                <c:pt idx="977">
                  <c:v>171.26</c:v>
                </c:pt>
                <c:pt idx="978">
                  <c:v>171.46</c:v>
                </c:pt>
                <c:pt idx="979">
                  <c:v>171.6</c:v>
                </c:pt>
                <c:pt idx="980">
                  <c:v>171.05</c:v>
                </c:pt>
                <c:pt idx="981">
                  <c:v>171.6</c:v>
                </c:pt>
                <c:pt idx="982">
                  <c:v>171.66</c:v>
                </c:pt>
                <c:pt idx="983">
                  <c:v>172.79</c:v>
                </c:pt>
                <c:pt idx="984">
                  <c:v>172.88</c:v>
                </c:pt>
                <c:pt idx="985">
                  <c:v>173.23</c:v>
                </c:pt>
                <c:pt idx="986">
                  <c:v>173.42</c:v>
                </c:pt>
                <c:pt idx="987">
                  <c:v>172.55</c:v>
                </c:pt>
                <c:pt idx="988">
                  <c:v>170.93</c:v>
                </c:pt>
                <c:pt idx="989">
                  <c:v>173.64</c:v>
                </c:pt>
                <c:pt idx="990">
                  <c:v>173.87</c:v>
                </c:pt>
                <c:pt idx="991">
                  <c:v>173.39</c:v>
                </c:pt>
                <c:pt idx="992">
                  <c:v>172.64</c:v>
                </c:pt>
                <c:pt idx="993">
                  <c:v>171.94</c:v>
                </c:pt>
                <c:pt idx="994">
                  <c:v>171.71</c:v>
                </c:pt>
                <c:pt idx="995">
                  <c:v>170.57</c:v>
                </c:pt>
                <c:pt idx="996">
                  <c:v>168.92</c:v>
                </c:pt>
                <c:pt idx="997">
                  <c:v>167.8</c:v>
                </c:pt>
                <c:pt idx="998">
                  <c:v>169.1</c:v>
                </c:pt>
                <c:pt idx="999">
                  <c:v>170.46</c:v>
                </c:pt>
                <c:pt idx="1000">
                  <c:v>169.76</c:v>
                </c:pt>
                <c:pt idx="1001">
                  <c:v>170.85</c:v>
                </c:pt>
                <c:pt idx="1002">
                  <c:v>170.75</c:v>
                </c:pt>
                <c:pt idx="1003">
                  <c:v>170</c:v>
                </c:pt>
                <c:pt idx="1004">
                  <c:v>171.08</c:v>
                </c:pt>
                <c:pt idx="1005">
                  <c:v>170.93</c:v>
                </c:pt>
                <c:pt idx="1006">
                  <c:v>171.52</c:v>
                </c:pt>
                <c:pt idx="1007">
                  <c:v>172.25</c:v>
                </c:pt>
                <c:pt idx="1008">
                  <c:v>173.14</c:v>
                </c:pt>
                <c:pt idx="1009">
                  <c:v>174</c:v>
                </c:pt>
                <c:pt idx="1010">
                  <c:v>174.72</c:v>
                </c:pt>
                <c:pt idx="1011">
                  <c:v>175.14</c:v>
                </c:pt>
                <c:pt idx="1012">
                  <c:v>174.6</c:v>
                </c:pt>
                <c:pt idx="1013">
                  <c:v>172.24</c:v>
                </c:pt>
                <c:pt idx="1014">
                  <c:v>171.96</c:v>
                </c:pt>
                <c:pt idx="1015">
                  <c:v>172.75</c:v>
                </c:pt>
                <c:pt idx="1016">
                  <c:v>170.17</c:v>
                </c:pt>
                <c:pt idx="1017">
                  <c:v>168.26</c:v>
                </c:pt>
                <c:pt idx="1018">
                  <c:v>169.67</c:v>
                </c:pt>
                <c:pt idx="1019">
                  <c:v>169.79</c:v>
                </c:pt>
                <c:pt idx="1020">
                  <c:v>171.94</c:v>
                </c:pt>
                <c:pt idx="1021">
                  <c:v>172.15</c:v>
                </c:pt>
                <c:pt idx="1022">
                  <c:v>173.91</c:v>
                </c:pt>
                <c:pt idx="1023">
                  <c:v>173.29</c:v>
                </c:pt>
                <c:pt idx="1024">
                  <c:v>173.6</c:v>
                </c:pt>
                <c:pt idx="1025">
                  <c:v>172.35</c:v>
                </c:pt>
                <c:pt idx="1026">
                  <c:v>172.42</c:v>
                </c:pt>
                <c:pt idx="1027">
                  <c:v>173.75</c:v>
                </c:pt>
                <c:pt idx="1028">
                  <c:v>173.71</c:v>
                </c:pt>
                <c:pt idx="1029">
                  <c:v>174.03</c:v>
                </c:pt>
                <c:pt idx="1030">
                  <c:v>173.92</c:v>
                </c:pt>
                <c:pt idx="1031">
                  <c:v>173.88</c:v>
                </c:pt>
                <c:pt idx="1032">
                  <c:v>172.62</c:v>
                </c:pt>
                <c:pt idx="1033">
                  <c:v>172.78</c:v>
                </c:pt>
                <c:pt idx="1034">
                  <c:v>173.89</c:v>
                </c:pt>
                <c:pt idx="1035">
                  <c:v>174.87</c:v>
                </c:pt>
                <c:pt idx="1036">
                  <c:v>176.1</c:v>
                </c:pt>
                <c:pt idx="1037">
                  <c:v>177.09</c:v>
                </c:pt>
                <c:pt idx="1038">
                  <c:v>176.82</c:v>
                </c:pt>
                <c:pt idx="1039">
                  <c:v>175.42</c:v>
                </c:pt>
                <c:pt idx="1040">
                  <c:v>175.67</c:v>
                </c:pt>
                <c:pt idx="1041">
                  <c:v>175.7</c:v>
                </c:pt>
                <c:pt idx="1042">
                  <c:v>175.26</c:v>
                </c:pt>
                <c:pt idx="1043">
                  <c:v>176.57</c:v>
                </c:pt>
                <c:pt idx="1044">
                  <c:v>177.35</c:v>
                </c:pt>
                <c:pt idx="1045">
                  <c:v>178.27</c:v>
                </c:pt>
                <c:pt idx="1046">
                  <c:v>178.6</c:v>
                </c:pt>
                <c:pt idx="1047">
                  <c:v>179.57</c:v>
                </c:pt>
                <c:pt idx="1048">
                  <c:v>179.7</c:v>
                </c:pt>
                <c:pt idx="1049">
                  <c:v>180.22</c:v>
                </c:pt>
                <c:pt idx="1050">
                  <c:v>180.03</c:v>
                </c:pt>
                <c:pt idx="1051">
                  <c:v>180.82</c:v>
                </c:pt>
                <c:pt idx="1052">
                  <c:v>180.5</c:v>
                </c:pt>
                <c:pt idx="1053">
                  <c:v>180.72</c:v>
                </c:pt>
                <c:pt idx="1054">
                  <c:v>181.63</c:v>
                </c:pt>
                <c:pt idx="1055">
                  <c:v>182.28</c:v>
                </c:pt>
                <c:pt idx="1056">
                  <c:v>183.04</c:v>
                </c:pt>
                <c:pt idx="1057">
                  <c:v>183.61</c:v>
                </c:pt>
                <c:pt idx="1058">
                  <c:v>183.37</c:v>
                </c:pt>
                <c:pt idx="1059">
                  <c:v>182.55</c:v>
                </c:pt>
                <c:pt idx="1060">
                  <c:v>182.99</c:v>
                </c:pt>
                <c:pt idx="1061">
                  <c:v>182.39</c:v>
                </c:pt>
                <c:pt idx="1062">
                  <c:v>182.91</c:v>
                </c:pt>
                <c:pt idx="1063">
                  <c:v>183.49</c:v>
                </c:pt>
                <c:pt idx="1064">
                  <c:v>183.87</c:v>
                </c:pt>
                <c:pt idx="1065">
                  <c:v>184.49</c:v>
                </c:pt>
                <c:pt idx="1066">
                  <c:v>184.12</c:v>
                </c:pt>
                <c:pt idx="1067">
                  <c:v>183.18</c:v>
                </c:pt>
                <c:pt idx="1068">
                  <c:v>182.7</c:v>
                </c:pt>
                <c:pt idx="1069">
                  <c:v>183.26</c:v>
                </c:pt>
                <c:pt idx="1070">
                  <c:v>182.93</c:v>
                </c:pt>
                <c:pt idx="1071">
                  <c:v>182.52</c:v>
                </c:pt>
                <c:pt idx="1072">
                  <c:v>183.9</c:v>
                </c:pt>
                <c:pt idx="1073">
                  <c:v>184.46</c:v>
                </c:pt>
                <c:pt idx="1074">
                  <c:v>185.81</c:v>
                </c:pt>
                <c:pt idx="1075">
                  <c:v>186.03</c:v>
                </c:pt>
                <c:pt idx="1076">
                  <c:v>185.01</c:v>
                </c:pt>
                <c:pt idx="1077">
                  <c:v>183.41</c:v>
                </c:pt>
                <c:pt idx="1078">
                  <c:v>183.47</c:v>
                </c:pt>
                <c:pt idx="1079">
                  <c:v>182.79</c:v>
                </c:pt>
                <c:pt idx="1080">
                  <c:v>182.98</c:v>
                </c:pt>
                <c:pt idx="1081">
                  <c:v>183.77</c:v>
                </c:pt>
                <c:pt idx="1082">
                  <c:v>183.96</c:v>
                </c:pt>
                <c:pt idx="1083">
                  <c:v>185.52</c:v>
                </c:pt>
                <c:pt idx="1084">
                  <c:v>184.06</c:v>
                </c:pt>
                <c:pt idx="1085">
                  <c:v>185.07</c:v>
                </c:pt>
                <c:pt idx="1086">
                  <c:v>184.5</c:v>
                </c:pt>
                <c:pt idx="1087">
                  <c:v>186.37</c:v>
                </c:pt>
                <c:pt idx="1088">
                  <c:v>186.8</c:v>
                </c:pt>
                <c:pt idx="1089">
                  <c:v>186.95</c:v>
                </c:pt>
                <c:pt idx="1090">
                  <c:v>186.62</c:v>
                </c:pt>
                <c:pt idx="1091">
                  <c:v>186.54</c:v>
                </c:pt>
                <c:pt idx="1092">
                  <c:v>186.53</c:v>
                </c:pt>
                <c:pt idx="1093">
                  <c:v>186.56</c:v>
                </c:pt>
                <c:pt idx="1094">
                  <c:v>183.82</c:v>
                </c:pt>
                <c:pt idx="1095">
                  <c:v>182.24</c:v>
                </c:pt>
                <c:pt idx="1096">
                  <c:v>182.78</c:v>
                </c:pt>
                <c:pt idx="1097">
                  <c:v>182.19</c:v>
                </c:pt>
                <c:pt idx="1098">
                  <c:v>181.82</c:v>
                </c:pt>
                <c:pt idx="1099">
                  <c:v>181.03</c:v>
                </c:pt>
                <c:pt idx="1100">
                  <c:v>180.7</c:v>
                </c:pt>
                <c:pt idx="1101">
                  <c:v>182.33</c:v>
                </c:pt>
                <c:pt idx="1102">
                  <c:v>182.54</c:v>
                </c:pt>
                <c:pt idx="1103">
                  <c:v>183.28</c:v>
                </c:pt>
                <c:pt idx="1104">
                  <c:v>184.07</c:v>
                </c:pt>
                <c:pt idx="1105">
                  <c:v>183.89</c:v>
                </c:pt>
                <c:pt idx="1106">
                  <c:v>185.55</c:v>
                </c:pt>
                <c:pt idx="1107">
                  <c:v>187.01</c:v>
                </c:pt>
                <c:pt idx="1108">
                  <c:v>187.55</c:v>
                </c:pt>
                <c:pt idx="1109">
                  <c:v>188.27</c:v>
                </c:pt>
                <c:pt idx="1110">
                  <c:v>188.4</c:v>
                </c:pt>
                <c:pt idx="1111">
                  <c:v>189.91</c:v>
                </c:pt>
                <c:pt idx="1112">
                  <c:v>190.27</c:v>
                </c:pt>
                <c:pt idx="1113">
                  <c:v>190.49</c:v>
                </c:pt>
                <c:pt idx="1114">
                  <c:v>190.18</c:v>
                </c:pt>
                <c:pt idx="1115">
                  <c:v>190.67</c:v>
                </c:pt>
                <c:pt idx="1116">
                  <c:v>191.16</c:v>
                </c:pt>
                <c:pt idx="1117">
                  <c:v>191.27</c:v>
                </c:pt>
                <c:pt idx="1118">
                  <c:v>191.64</c:v>
                </c:pt>
                <c:pt idx="1119">
                  <c:v>193.79</c:v>
                </c:pt>
                <c:pt idx="1120">
                  <c:v>194.1</c:v>
                </c:pt>
                <c:pt idx="1121">
                  <c:v>193.55</c:v>
                </c:pt>
                <c:pt idx="1122">
                  <c:v>192.85</c:v>
                </c:pt>
                <c:pt idx="1123">
                  <c:v>193.11</c:v>
                </c:pt>
                <c:pt idx="1124">
                  <c:v>192.88</c:v>
                </c:pt>
                <c:pt idx="1125">
                  <c:v>192.12</c:v>
                </c:pt>
                <c:pt idx="1126">
                  <c:v>191.82</c:v>
                </c:pt>
                <c:pt idx="1127">
                  <c:v>192.32</c:v>
                </c:pt>
                <c:pt idx="1128">
                  <c:v>192.37</c:v>
                </c:pt>
                <c:pt idx="1129">
                  <c:v>193.77</c:v>
                </c:pt>
                <c:pt idx="1130">
                  <c:v>194.74</c:v>
                </c:pt>
                <c:pt idx="1131">
                  <c:v>193.52</c:v>
                </c:pt>
                <c:pt idx="1132">
                  <c:v>191.79</c:v>
                </c:pt>
                <c:pt idx="1133">
                  <c:v>193.57</c:v>
                </c:pt>
                <c:pt idx="1134">
                  <c:v>192.16</c:v>
                </c:pt>
                <c:pt idx="1135">
                  <c:v>193.48</c:v>
                </c:pt>
                <c:pt idx="1136">
                  <c:v>192.98</c:v>
                </c:pt>
                <c:pt idx="1137">
                  <c:v>193.4</c:v>
                </c:pt>
                <c:pt idx="1138">
                  <c:v>191.83</c:v>
                </c:pt>
                <c:pt idx="1139">
                  <c:v>189.6</c:v>
                </c:pt>
                <c:pt idx="1140">
                  <c:v>192.55</c:v>
                </c:pt>
                <c:pt idx="1141">
                  <c:v>192.25</c:v>
                </c:pt>
                <c:pt idx="1142">
                  <c:v>189.29</c:v>
                </c:pt>
                <c:pt idx="1143">
                  <c:v>189.7</c:v>
                </c:pt>
                <c:pt idx="1144">
                  <c:v>187.09</c:v>
                </c:pt>
                <c:pt idx="1145">
                  <c:v>185.39</c:v>
                </c:pt>
                <c:pt idx="1146">
                  <c:v>183.17</c:v>
                </c:pt>
                <c:pt idx="1147">
                  <c:v>183.03</c:v>
                </c:pt>
                <c:pt idx="1148">
                  <c:v>180</c:v>
                </c:pt>
                <c:pt idx="1149">
                  <c:v>179.34</c:v>
                </c:pt>
                <c:pt idx="1150">
                  <c:v>181.87</c:v>
                </c:pt>
                <c:pt idx="1151">
                  <c:v>183.16</c:v>
                </c:pt>
                <c:pt idx="1152">
                  <c:v>186.67</c:v>
                </c:pt>
                <c:pt idx="1153">
                  <c:v>187.29</c:v>
                </c:pt>
                <c:pt idx="1154">
                  <c:v>188.94</c:v>
                </c:pt>
                <c:pt idx="1155">
                  <c:v>189.54</c:v>
                </c:pt>
                <c:pt idx="1156">
                  <c:v>188.84</c:v>
                </c:pt>
                <c:pt idx="1157">
                  <c:v>190.25</c:v>
                </c:pt>
                <c:pt idx="1158">
                  <c:v>190.29</c:v>
                </c:pt>
                <c:pt idx="1159">
                  <c:v>192.72</c:v>
                </c:pt>
                <c:pt idx="1160">
                  <c:v>196.33</c:v>
                </c:pt>
                <c:pt idx="1161">
                  <c:v>195.95</c:v>
                </c:pt>
                <c:pt idx="1162">
                  <c:v>194.68</c:v>
                </c:pt>
                <c:pt idx="1163">
                  <c:v>196.9</c:v>
                </c:pt>
                <c:pt idx="1164">
                  <c:v>197.84</c:v>
                </c:pt>
                <c:pt idx="1165">
                  <c:v>198.12</c:v>
                </c:pt>
                <c:pt idx="1166">
                  <c:v>198.59</c:v>
                </c:pt>
                <c:pt idx="1167">
                  <c:v>199.12</c:v>
                </c:pt>
                <c:pt idx="1168">
                  <c:v>198.12</c:v>
                </c:pt>
                <c:pt idx="1169">
                  <c:v>198.38</c:v>
                </c:pt>
                <c:pt idx="1170">
                  <c:v>198.42</c:v>
                </c:pt>
                <c:pt idx="1171">
                  <c:v>198.48</c:v>
                </c:pt>
                <c:pt idx="1172">
                  <c:v>198.93</c:v>
                </c:pt>
                <c:pt idx="1173">
                  <c:v>198.36</c:v>
                </c:pt>
                <c:pt idx="1174">
                  <c:v>198.41</c:v>
                </c:pt>
                <c:pt idx="1175">
                  <c:v>201.81</c:v>
                </c:pt>
                <c:pt idx="1176">
                  <c:v>201.76</c:v>
                </c:pt>
                <c:pt idx="1177">
                  <c:v>201.32</c:v>
                </c:pt>
                <c:pt idx="1178">
                  <c:v>201.26</c:v>
                </c:pt>
                <c:pt idx="1179">
                  <c:v>201.66</c:v>
                </c:pt>
                <c:pt idx="1180">
                  <c:v>201.41</c:v>
                </c:pt>
                <c:pt idx="1181">
                  <c:v>200.22</c:v>
                </c:pt>
                <c:pt idx="1182">
                  <c:v>202.08</c:v>
                </c:pt>
                <c:pt idx="1183">
                  <c:v>203.84</c:v>
                </c:pt>
                <c:pt idx="1184">
                  <c:v>201.64</c:v>
                </c:pt>
                <c:pt idx="1185">
                  <c:v>204.17</c:v>
                </c:pt>
                <c:pt idx="1186">
                  <c:v>202.97</c:v>
                </c:pt>
                <c:pt idx="1187">
                  <c:v>200.21</c:v>
                </c:pt>
                <c:pt idx="1188">
                  <c:v>197.68</c:v>
                </c:pt>
                <c:pt idx="1189">
                  <c:v>198.27</c:v>
                </c:pt>
                <c:pt idx="1190">
                  <c:v>194.32</c:v>
                </c:pt>
                <c:pt idx="1191">
                  <c:v>192.55</c:v>
                </c:pt>
                <c:pt idx="1192">
                  <c:v>191.33</c:v>
                </c:pt>
                <c:pt idx="1193">
                  <c:v>194.92</c:v>
                </c:pt>
                <c:pt idx="1194">
                  <c:v>200.69</c:v>
                </c:pt>
                <c:pt idx="1195">
                  <c:v>202.22</c:v>
                </c:pt>
                <c:pt idx="1196">
                  <c:v>203.06</c:v>
                </c:pt>
                <c:pt idx="1197">
                  <c:v>204.43</c:v>
                </c:pt>
                <c:pt idx="1198">
                  <c:v>204.52</c:v>
                </c:pt>
                <c:pt idx="1199">
                  <c:v>205.35</c:v>
                </c:pt>
                <c:pt idx="1200">
                  <c:v>204.38</c:v>
                </c:pt>
                <c:pt idx="1201">
                  <c:v>204.14</c:v>
                </c:pt>
                <c:pt idx="1202">
                  <c:v>204.74</c:v>
                </c:pt>
                <c:pt idx="1203">
                  <c:v>202.43</c:v>
                </c:pt>
                <c:pt idx="1204">
                  <c:v>200.67</c:v>
                </c:pt>
                <c:pt idx="1205">
                  <c:v>203.54</c:v>
                </c:pt>
                <c:pt idx="1206">
                  <c:v>207.64</c:v>
                </c:pt>
                <c:pt idx="1207">
                  <c:v>205.71</c:v>
                </c:pt>
                <c:pt idx="1208">
                  <c:v>205.2</c:v>
                </c:pt>
                <c:pt idx="1209">
                  <c:v>206.08</c:v>
                </c:pt>
                <c:pt idx="1210">
                  <c:v>204.41</c:v>
                </c:pt>
                <c:pt idx="1211">
                  <c:v>207.66</c:v>
                </c:pt>
                <c:pt idx="1212">
                  <c:v>210.73</c:v>
                </c:pt>
                <c:pt idx="1213">
                  <c:v>209.21</c:v>
                </c:pt>
                <c:pt idx="1214">
                  <c:v>210.77</c:v>
                </c:pt>
                <c:pt idx="1215">
                  <c:v>211.63</c:v>
                </c:pt>
                <c:pt idx="1216">
                  <c:v>216.75</c:v>
                </c:pt>
                <c:pt idx="1217">
                  <c:v>219.66</c:v>
                </c:pt>
                <c:pt idx="1218">
                  <c:v>220.1</c:v>
                </c:pt>
                <c:pt idx="1219">
                  <c:v>216.55</c:v>
                </c:pt>
                <c:pt idx="1220">
                  <c:v>215.73</c:v>
                </c:pt>
                <c:pt idx="1221">
                  <c:v>216.38</c:v>
                </c:pt>
                <c:pt idx="1222">
                  <c:v>215.3</c:v>
                </c:pt>
                <c:pt idx="1223">
                  <c:v>216.23</c:v>
                </c:pt>
                <c:pt idx="1224">
                  <c:v>216.75</c:v>
                </c:pt>
                <c:pt idx="1225">
                  <c:v>217.35</c:v>
                </c:pt>
                <c:pt idx="1226">
                  <c:v>218.73</c:v>
                </c:pt>
                <c:pt idx="1227">
                  <c:v>219.48</c:v>
                </c:pt>
                <c:pt idx="1228">
                  <c:v>218.82</c:v>
                </c:pt>
                <c:pt idx="1229">
                  <c:v>220.5</c:v>
                </c:pt>
                <c:pt idx="1230">
                  <c:v>220.33</c:v>
                </c:pt>
                <c:pt idx="1231">
                  <c:v>221.64</c:v>
                </c:pt>
                <c:pt idx="1232">
                  <c:v>222.44</c:v>
                </c:pt>
                <c:pt idx="1233">
                  <c:v>222.51</c:v>
                </c:pt>
                <c:pt idx="1234">
                  <c:v>222.87</c:v>
                </c:pt>
                <c:pt idx="1235">
                  <c:v>224.27</c:v>
                </c:pt>
                <c:pt idx="1236">
                  <c:v>224.05</c:v>
                </c:pt>
                <c:pt idx="1237">
                  <c:v>225.45</c:v>
                </c:pt>
                <c:pt idx="1238">
                  <c:v>226.08</c:v>
                </c:pt>
                <c:pt idx="1239">
                  <c:v>227.03</c:v>
                </c:pt>
                <c:pt idx="1240">
                  <c:v>226.84</c:v>
                </c:pt>
                <c:pt idx="1241">
                  <c:v>229.37</c:v>
                </c:pt>
                <c:pt idx="1242">
                  <c:v>229.15</c:v>
                </c:pt>
                <c:pt idx="1243">
                  <c:v>230.02</c:v>
                </c:pt>
                <c:pt idx="1244">
                  <c:v>229.25</c:v>
                </c:pt>
                <c:pt idx="1245">
                  <c:v>230.67</c:v>
                </c:pt>
                <c:pt idx="1246">
                  <c:v>231.9</c:v>
                </c:pt>
                <c:pt idx="1247">
                  <c:v>232.69</c:v>
                </c:pt>
                <c:pt idx="1248">
                  <c:v>232.95</c:v>
                </c:pt>
                <c:pt idx="1249">
                  <c:v>232.08</c:v>
                </c:pt>
                <c:pt idx="1250">
                  <c:v>234.77</c:v>
                </c:pt>
                <c:pt idx="1251">
                  <c:v>236.37</c:v>
                </c:pt>
                <c:pt idx="1252">
                  <c:v>237.37</c:v>
                </c:pt>
                <c:pt idx="1253">
                  <c:v>238.8</c:v>
                </c:pt>
                <c:pt idx="1254">
                  <c:v>237.78</c:v>
                </c:pt>
                <c:pt idx="1255">
                  <c:v>239.25</c:v>
                </c:pt>
                <c:pt idx="1256">
                  <c:v>239.39</c:v>
                </c:pt>
                <c:pt idx="1257">
                  <c:v>238.77</c:v>
                </c:pt>
                <c:pt idx="1258">
                  <c:v>236.36</c:v>
                </c:pt>
                <c:pt idx="1259">
                  <c:v>236.09</c:v>
                </c:pt>
                <c:pt idx="1260">
                  <c:v>232.35</c:v>
                </c:pt>
                <c:pt idx="1261">
                  <c:v>232.19</c:v>
                </c:pt>
                <c:pt idx="1262">
                  <c:v>232.93</c:v>
                </c:pt>
                <c:pt idx="1263">
                  <c:v>235.87</c:v>
                </c:pt>
                <c:pt idx="1264">
                  <c:v>235.63</c:v>
                </c:pt>
                <c:pt idx="1265">
                  <c:v>234.84</c:v>
                </c:pt>
                <c:pt idx="1266">
                  <c:v>233.72</c:v>
                </c:pt>
                <c:pt idx="1267">
                  <c:v>236.19</c:v>
                </c:pt>
                <c:pt idx="1268">
                  <c:v>238.16</c:v>
                </c:pt>
                <c:pt idx="1269">
                  <c:v>241.43</c:v>
                </c:pt>
                <c:pt idx="1270">
                  <c:v>243.65</c:v>
                </c:pt>
                <c:pt idx="1271">
                  <c:v>243.86</c:v>
                </c:pt>
                <c:pt idx="1272">
                  <c:v>242.19</c:v>
                </c:pt>
                <c:pt idx="1273">
                  <c:v>244.58</c:v>
                </c:pt>
                <c:pt idx="1274">
                  <c:v>242.94</c:v>
                </c:pt>
                <c:pt idx="1275">
                  <c:v>238.91</c:v>
                </c:pt>
                <c:pt idx="1276">
                  <c:v>240.73</c:v>
                </c:pt>
                <c:pt idx="1277">
                  <c:v>241.55</c:v>
                </c:pt>
                <c:pt idx="1278">
                  <c:v>242.59</c:v>
                </c:pt>
                <c:pt idx="1279">
                  <c:v>241.61</c:v>
                </c:pt>
                <c:pt idx="1280">
                  <c:v>241.28</c:v>
                </c:pt>
                <c:pt idx="1281">
                  <c:v>241.19</c:v>
                </c:pt>
                <c:pt idx="1282">
                  <c:v>239.29</c:v>
                </c:pt>
                <c:pt idx="1283">
                  <c:v>234.66</c:v>
                </c:pt>
                <c:pt idx="1284">
                  <c:v>231.24</c:v>
                </c:pt>
                <c:pt idx="1285">
                  <c:v>231.97</c:v>
                </c:pt>
                <c:pt idx="1286">
                  <c:v>233.71</c:v>
                </c:pt>
                <c:pt idx="1287">
                  <c:v>230.96</c:v>
                </c:pt>
                <c:pt idx="1288">
                  <c:v>227.61</c:v>
                </c:pt>
                <c:pt idx="1289">
                  <c:v>229.11</c:v>
                </c:pt>
                <c:pt idx="1290">
                  <c:v>233.38</c:v>
                </c:pt>
                <c:pt idx="1291">
                  <c:v>234.16</c:v>
                </c:pt>
                <c:pt idx="1292">
                  <c:v>231.69</c:v>
                </c:pt>
                <c:pt idx="1293">
                  <c:v>230.33</c:v>
                </c:pt>
                <c:pt idx="1294">
                  <c:v>231.5</c:v>
                </c:pt>
                <c:pt idx="1295">
                  <c:v>230.83</c:v>
                </c:pt>
                <c:pt idx="1296">
                  <c:v>232.63</c:v>
                </c:pt>
                <c:pt idx="1297">
                  <c:v>236.94</c:v>
                </c:pt>
                <c:pt idx="1298">
                  <c:v>237.46</c:v>
                </c:pt>
                <c:pt idx="1299">
                  <c:v>237.94</c:v>
                </c:pt>
                <c:pt idx="1300">
                  <c:v>239.1</c:v>
                </c:pt>
                <c:pt idx="1301">
                  <c:v>239.16</c:v>
                </c:pt>
                <c:pt idx="1302">
                  <c:v>238.93</c:v>
                </c:pt>
                <c:pt idx="1303">
                  <c:v>241.05</c:v>
                </c:pt>
                <c:pt idx="1304">
                  <c:v>239.86</c:v>
                </c:pt>
              </c:numCache>
            </c:numRef>
          </c:val>
          <c:smooth val="0"/>
        </c:ser>
        <c:dLbls>
          <c:showLegendKey val="0"/>
          <c:showVal val="0"/>
          <c:showCatName val="0"/>
          <c:showSerName val="0"/>
          <c:showPercent val="0"/>
          <c:showBubbleSize val="0"/>
        </c:dLbls>
        <c:marker val="1"/>
        <c:smooth val="0"/>
        <c:axId val="200055040"/>
        <c:axId val="262111232"/>
      </c:lineChart>
      <c:dateAx>
        <c:axId val="200055040"/>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62111232"/>
        <c:crosses val="autoZero"/>
        <c:auto val="0"/>
        <c:lblOffset val="100"/>
        <c:baseTimeUnit val="days"/>
        <c:majorUnit val="1"/>
        <c:majorTimeUnit val="years"/>
        <c:minorUnit val="300"/>
        <c:minorTimeUnit val="days"/>
      </c:dateAx>
      <c:valAx>
        <c:axId val="262111232"/>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00055040"/>
        <c:crosses val="autoZero"/>
        <c:crossBetween val="between"/>
      </c:valAx>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39621374304604307"/>
          <c:h val="0.84222440944881893"/>
        </c:manualLayout>
      </c:layout>
      <c:barChart>
        <c:barDir val="bar"/>
        <c:grouping val="clustered"/>
        <c:varyColors val="0"/>
        <c:ser>
          <c:idx val="0"/>
          <c:order val="0"/>
          <c:tx>
            <c:strRef>
              <c:f>Sheet0!$B$1</c:f>
              <c:strCache>
                <c:ptCount val="1"/>
              </c:strCache>
            </c:strRef>
          </c:tx>
          <c:spPr>
            <a:solidFill>
              <a:schemeClr val="accent1"/>
            </a:solidFill>
            <a:ln>
              <a:solidFill>
                <a:schemeClr val="accent1"/>
              </a:solid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0!$A$2:$A$11</c:f>
              <c:strCache>
                <c:ptCount val="10"/>
                <c:pt idx="0">
                  <c:v>Oil &amp; Gas</c:v>
                </c:pt>
                <c:pt idx="1">
                  <c:v>Financial Services</c:v>
                </c:pt>
                <c:pt idx="2">
                  <c:v>Real Estate</c:v>
                </c:pt>
                <c:pt idx="3">
                  <c:v>Construction &amp; Materials</c:v>
                </c:pt>
                <c:pt idx="4">
                  <c:v>Basic Resources</c:v>
                </c:pt>
                <c:pt idx="5">
                  <c:v>Technology</c:v>
                </c:pt>
                <c:pt idx="6">
                  <c:v>Insurance</c:v>
                </c:pt>
                <c:pt idx="7">
                  <c:v>Chemicals</c:v>
                </c:pt>
                <c:pt idx="8">
                  <c:v>Industrial Goods &amp; Services</c:v>
                </c:pt>
                <c:pt idx="9">
                  <c:v>Banks</c:v>
                </c:pt>
              </c:strCache>
            </c:strRef>
          </c:cat>
          <c:val>
            <c:numRef>
              <c:f>Sheet0!$B$2:$B$11</c:f>
              <c:numCache>
                <c:formatCode>0.00%</c:formatCode>
                <c:ptCount val="10"/>
                <c:pt idx="0">
                  <c:v>1.5571400000000001E-2</c:v>
                </c:pt>
                <c:pt idx="1">
                  <c:v>3.1313100000000003E-2</c:v>
                </c:pt>
                <c:pt idx="2">
                  <c:v>3.5436500000000003E-2</c:v>
                </c:pt>
                <c:pt idx="3">
                  <c:v>5.1565899999999998E-2</c:v>
                </c:pt>
                <c:pt idx="4">
                  <c:v>6.4135800000000007E-2</c:v>
                </c:pt>
                <c:pt idx="5">
                  <c:v>7.7235799999999993E-2</c:v>
                </c:pt>
                <c:pt idx="6">
                  <c:v>9.2855999999999994E-2</c:v>
                </c:pt>
                <c:pt idx="7">
                  <c:v>0.10635559999999999</c:v>
                </c:pt>
                <c:pt idx="8">
                  <c:v>0.22577810000000001</c:v>
                </c:pt>
                <c:pt idx="9">
                  <c:v>0.29259580000000002</c:v>
                </c:pt>
              </c:numCache>
            </c:numRef>
          </c:val>
        </c:ser>
        <c:dLbls>
          <c:showLegendKey val="0"/>
          <c:showVal val="0"/>
          <c:showCatName val="0"/>
          <c:showSerName val="0"/>
          <c:showPercent val="0"/>
          <c:showBubbleSize val="0"/>
        </c:dLbls>
        <c:gapWidth val="150"/>
        <c:axId val="343444096"/>
        <c:axId val="352117120"/>
      </c:barChart>
      <c:catAx>
        <c:axId val="343444096"/>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352117120"/>
        <c:crosses val="autoZero"/>
        <c:auto val="1"/>
        <c:lblAlgn val="ctr"/>
        <c:lblOffset val="100"/>
        <c:noMultiLvlLbl val="0"/>
      </c:catAx>
      <c:valAx>
        <c:axId val="352117120"/>
        <c:scaling>
          <c:orientation val="minMax"/>
        </c:scaling>
        <c:delete val="1"/>
        <c:axPos val="b"/>
        <c:numFmt formatCode="0.00%" sourceLinked="1"/>
        <c:majorTickMark val="out"/>
        <c:minorTickMark val="none"/>
        <c:tickLblPos val="nextTo"/>
        <c:crossAx val="343444096"/>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85575933600797"/>
          <c:y val="5.0269935770223852E-2"/>
          <c:w val="0.4748163584202838"/>
          <c:h val="0.84222440944881893"/>
        </c:manualLayout>
      </c:layout>
      <c:barChart>
        <c:barDir val="bar"/>
        <c:grouping val="clustered"/>
        <c:varyColors val="0"/>
        <c:ser>
          <c:idx val="0"/>
          <c:order val="0"/>
          <c:tx>
            <c:strRef>
              <c:f>Sheet0!$B$1</c:f>
              <c:strCache>
                <c:ptCount val="1"/>
              </c:strCache>
            </c:strRef>
          </c:tx>
          <c:spPr>
            <a:solidFill>
              <a:schemeClr val="accent1"/>
            </a:solidFill>
            <a:ln>
              <a:solidFill>
                <a:schemeClr val="accent1"/>
              </a:solid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0!$A$2:$A$11</c:f>
              <c:strCache>
                <c:ptCount val="10"/>
                <c:pt idx="0">
                  <c:v>Denmark</c:v>
                </c:pt>
                <c:pt idx="1">
                  <c:v>Finland</c:v>
                </c:pt>
                <c:pt idx="2">
                  <c:v>Italy</c:v>
                </c:pt>
                <c:pt idx="3">
                  <c:v>Netherlands</c:v>
                </c:pt>
                <c:pt idx="4">
                  <c:v>Spain</c:v>
                </c:pt>
                <c:pt idx="5">
                  <c:v>Sweden</c:v>
                </c:pt>
                <c:pt idx="6">
                  <c:v>Switzerland</c:v>
                </c:pt>
                <c:pt idx="7">
                  <c:v>France</c:v>
                </c:pt>
                <c:pt idx="8">
                  <c:v>Germany</c:v>
                </c:pt>
                <c:pt idx="9">
                  <c:v>Great Britain</c:v>
                </c:pt>
              </c:strCache>
            </c:strRef>
          </c:cat>
          <c:val>
            <c:numRef>
              <c:f>Sheet0!$B$2:$B$11</c:f>
              <c:numCache>
                <c:formatCode>0.00%</c:formatCode>
                <c:ptCount val="10"/>
                <c:pt idx="0">
                  <c:v>1.6379299999999999E-2</c:v>
                </c:pt>
                <c:pt idx="1">
                  <c:v>1.8210199999999999E-2</c:v>
                </c:pt>
                <c:pt idx="2">
                  <c:v>5.1214500000000003E-2</c:v>
                </c:pt>
                <c:pt idx="3">
                  <c:v>5.9163100000000003E-2</c:v>
                </c:pt>
                <c:pt idx="4">
                  <c:v>6.9286600000000004E-2</c:v>
                </c:pt>
                <c:pt idx="5">
                  <c:v>7.3189799999999999E-2</c:v>
                </c:pt>
                <c:pt idx="6">
                  <c:v>0.1131307</c:v>
                </c:pt>
                <c:pt idx="7">
                  <c:v>0.15148039999999999</c:v>
                </c:pt>
                <c:pt idx="8">
                  <c:v>0.17366970000000001</c:v>
                </c:pt>
                <c:pt idx="9">
                  <c:v>0.23541770000000001</c:v>
                </c:pt>
              </c:numCache>
            </c:numRef>
          </c:val>
        </c:ser>
        <c:dLbls>
          <c:showLegendKey val="0"/>
          <c:showVal val="0"/>
          <c:showCatName val="0"/>
          <c:showSerName val="0"/>
          <c:showPercent val="0"/>
          <c:showBubbleSize val="0"/>
        </c:dLbls>
        <c:gapWidth val="150"/>
        <c:axId val="343240704"/>
        <c:axId val="343242240"/>
      </c:barChart>
      <c:catAx>
        <c:axId val="343240704"/>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343242240"/>
        <c:crosses val="autoZero"/>
        <c:auto val="1"/>
        <c:lblAlgn val="ctr"/>
        <c:lblOffset val="100"/>
        <c:noMultiLvlLbl val="0"/>
      </c:catAx>
      <c:valAx>
        <c:axId val="343242240"/>
        <c:scaling>
          <c:orientation val="minMax"/>
        </c:scaling>
        <c:delete val="1"/>
        <c:axPos val="b"/>
        <c:numFmt formatCode="0.00%" sourceLinked="1"/>
        <c:majorTickMark val="out"/>
        <c:minorTickMark val="none"/>
        <c:tickLblPos val="nextTo"/>
        <c:crossAx val="343240704"/>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24.06.2015</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pPr/>
              <a:t>3</a:t>
            </a:fld>
            <a:endParaRPr lang="de-DE" dirty="0"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0</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0</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2640319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 id="2147484270" r:id="rId45"/>
    <p:sldLayoutId id="2147484271" r:id="rId46"/>
    <p:sldLayoutId id="2147484272" r:id="rId47"/>
    <p:sldLayoutId id="2147484273" r:id="rId48"/>
    <p:sldLayoutId id="2147484274" r:id="rId49"/>
    <p:sldLayoutId id="2147484275" r:id="rId50"/>
    <p:sldLayoutId id="2147484276" r:id="rId51"/>
    <p:sldLayoutId id="2147484277" r:id="rId52"/>
    <p:sldLayoutId id="2147484278" r:id="rId53"/>
    <p:sldLayoutId id="2147484279" r:id="rId54"/>
    <p:sldLayoutId id="2147484280" r:id="rId55"/>
    <p:sldLayoutId id="2147484281" r:id="rId56"/>
    <p:sldLayoutId id="2147484282" r:id="rId57"/>
    <p:sldLayoutId id="2147484283" r:id="rId58"/>
    <p:sldLayoutId id="2147484284" r:id="rId59"/>
    <p:sldLayoutId id="2147484285" r:id="rId60"/>
    <p:sldLayoutId id="2147484286"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23.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Month, Year</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XXX INDEX (ALL CAPS)</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xx</a:t>
            </a:r>
          </a:p>
          <a:p>
            <a:r>
              <a:rPr lang="en-US" dirty="0" smtClean="0"/>
              <a:t>Methodology	Page xx</a:t>
            </a:r>
          </a:p>
          <a:p>
            <a:r>
              <a:rPr lang="en-US" dirty="0" smtClean="0"/>
              <a:t>Performance	Page xx</a:t>
            </a:r>
          </a:p>
          <a:p>
            <a:pPr marL="0" indent="0">
              <a:buNone/>
            </a:pPr>
            <a:r>
              <a:rPr lang="en-US" dirty="0" smtClean="0"/>
              <a:t>Appendix</a:t>
            </a:r>
            <a:endParaRPr lang="en-US" dirty="0"/>
          </a:p>
        </p:txBody>
      </p:sp>
      <p:sp>
        <p:nvSpPr>
          <p:cNvPr id="5" name="TextBox 4"/>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note appendix does NOT have a number. And it is indented more to the left than the previous entries.</a:t>
            </a:r>
            <a:endParaRPr lang="de-DE" sz="1200" b="1" dirty="0" smtClean="0">
              <a:solidFill>
                <a:srgbClr val="D80F5F"/>
              </a:solidFill>
            </a:endParaRPr>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a:t>
            </a:r>
            <a:r>
              <a:rPr lang="en-US" sz="1600" b="0" dirty="0"/>
              <a:t>l</a:t>
            </a:r>
            <a:r>
              <a:rPr lang="en-US" sz="1600" b="0" dirty="0" smtClean="0"/>
              <a:t>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Heading</a:t>
            </a:r>
            <a:endParaRPr lang="en-US" sz="1600" b="1" dirty="0">
              <a:solidFill>
                <a:schemeClr val="bg1"/>
              </a:solidFill>
            </a:endParaRPr>
          </a:p>
        </p:txBody>
      </p:sp>
      <p:sp>
        <p:nvSpPr>
          <p:cNvPr id="37893" name="Rectangle 5"/>
          <p:cNvSpPr>
            <a:spLocks noChangeArrowheads="1"/>
          </p:cNvSpPr>
          <p:nvPr/>
        </p:nvSpPr>
        <p:spPr bwMode="auto">
          <a:xfrm>
            <a:off x="5167313" y="2217738"/>
            <a:ext cx="4359275" cy="695325"/>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l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grpSp>
        </p:grpSp>
      </p:grpSp>
      <p:sp>
        <p:nvSpPr>
          <p:cNvPr id="17" name="TextBox 16"/>
          <p:cNvSpPr txBox="1"/>
          <p:nvPr/>
        </p:nvSpPr>
        <p:spPr>
          <a:xfrm>
            <a:off x="368300" y="-1647"/>
            <a:ext cx="9170988" cy="461665"/>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use two slides for investment case if needed. Choose from master template (include for instance client demand and investment solution)</a:t>
            </a:r>
            <a:endParaRPr lang="de-DE" sz="1200" b="1" dirty="0" smtClean="0">
              <a:solidFill>
                <a:srgbClr val="D80F5F"/>
              </a:solidFill>
            </a:endParaRPr>
          </a:p>
        </p:txBody>
      </p:sp>
    </p:spTree>
    <p:extLst>
      <p:ext uri="{BB962C8B-B14F-4D97-AF65-F5344CB8AC3E}">
        <p14:creationId xmlns:p14="http://schemas.microsoft.com/office/powerpoint/2010/main" val="16852546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r>
              <a:rPr lang="en-US" dirty="0" smtClean="0">
                <a:cs typeface="Arial" panose="020B0604020202020204" pitchFamily="34" charset="0"/>
              </a:rPr>
              <a:t>Methodology</a:t>
            </a:r>
            <a:endParaRPr lang="en-US" dirty="0" smtClean="0"/>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0" name="Rectangle 6"/>
          <p:cNvSpPr>
            <a:spLocks noChangeArrowheads="1"/>
          </p:cNvSpPr>
          <p:nvPr/>
        </p:nvSpPr>
        <p:spPr bwMode="auto">
          <a:xfrm>
            <a:off x="3111516" y="4315247"/>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1" name="Rectangle 6"/>
          <p:cNvSpPr>
            <a:spLocks noChangeArrowheads="1"/>
          </p:cNvSpPr>
          <p:nvPr/>
        </p:nvSpPr>
        <p:spPr bwMode="auto">
          <a:xfrm>
            <a:off x="3111516" y="3115043"/>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2" name="Rectangle 6"/>
          <p:cNvSpPr>
            <a:spLocks noChangeArrowheads="1"/>
          </p:cNvSpPr>
          <p:nvPr/>
        </p:nvSpPr>
        <p:spPr bwMode="auto">
          <a:xfrm>
            <a:off x="3111516" y="1914840"/>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19" name="Flowchart: Merge 18"/>
          <p:cNvSpPr/>
          <p:nvPr/>
        </p:nvSpPr>
        <p:spPr bwMode="auto">
          <a:xfrm>
            <a:off x="365760" y="1833975"/>
            <a:ext cx="2699657" cy="3582575"/>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67671" y="1914840"/>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11504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67671" y="431524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33" name="Rectangle 17"/>
          <p:cNvSpPr>
            <a:spLocks noChangeArrowheads="1"/>
          </p:cNvSpPr>
          <p:nvPr/>
        </p:nvSpPr>
        <p:spPr bwMode="auto">
          <a:xfrm>
            <a:off x="6967062" y="1836737"/>
            <a:ext cx="2559525" cy="356616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 </a:t>
            </a:r>
            <a:endParaRPr lang="en-US" sz="1600" dirty="0" smtClean="0"/>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Exclusions</a:t>
            </a:r>
            <a:r>
              <a:rPr lang="en-US" sz="1600" dirty="0" smtClean="0"/>
              <a:t>:</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sp>
        <p:nvSpPr>
          <p:cNvPr id="85" name="Rectangle 2"/>
          <p:cNvSpPr>
            <a:spLocks noChangeArrowheads="1"/>
          </p:cNvSpPr>
          <p:nvPr/>
        </p:nvSpPr>
        <p:spPr bwMode="auto">
          <a:xfrm>
            <a:off x="365919"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endParaRPr lang="en-US" sz="1600" b="1" dirty="0">
              <a:solidFill>
                <a:schemeClr val="bg1"/>
              </a:solidFill>
            </a:endParaRPr>
          </a:p>
        </p:txBody>
      </p:sp>
      <p:sp>
        <p:nvSpPr>
          <p:cNvPr id="86" name="Rectangle 2"/>
          <p:cNvSpPr>
            <a:spLocks noChangeArrowheads="1"/>
          </p:cNvSpPr>
          <p:nvPr/>
        </p:nvSpPr>
        <p:spPr bwMode="auto">
          <a:xfrm>
            <a:off x="5162074"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27" name="Rectangle 6"/>
          <p:cNvSpPr>
            <a:spLocks noChangeArrowheads="1"/>
          </p:cNvSpPr>
          <p:nvPr/>
        </p:nvSpPr>
        <p:spPr bwMode="auto">
          <a:xfrm>
            <a:off x="4264574" y="5859006"/>
            <a:ext cx="233850" cy="144463"/>
          </a:xfrm>
          <a:prstGeom prst="rect">
            <a:avLst/>
          </a:prstGeom>
          <a:solidFill>
            <a:schemeClr val="accent2"/>
          </a:solidFill>
          <a:ln w="9525" algn="ctr">
            <a:noFill/>
            <a:miter lim="800000"/>
            <a:headEnd/>
            <a:tailEnd/>
          </a:ln>
        </p:spPr>
        <p:txBody>
          <a:bodyPr wrap="none" lIns="365760" tIns="0" rIns="0" bIns="0" anchor="ctr"/>
          <a:lstStyle/>
          <a:p>
            <a:r>
              <a:rPr lang="en-US" sz="1000"/>
              <a:t>STOXX® Europe 600 
(EUR Net Return) </a:t>
            </a:r>
          </a:p>
        </p:txBody>
      </p:sp>
      <p:sp>
        <p:nvSpPr>
          <p:cNvPr id="36" name="Text Box 150"/>
          <p:cNvSpPr txBox="1">
            <a:spLocks noChangeArrowheads="1"/>
          </p:cNvSpPr>
          <p:nvPr/>
        </p:nvSpPr>
        <p:spPr bwMode="auto">
          <a:xfrm>
            <a:off x="1657985" y="6334125"/>
            <a:ext cx="7680960" cy="461665"/>
          </a:xfrm>
          <a:prstGeom prst="rect">
            <a:avLst/>
          </a:prstGeom>
          <a:noFill/>
          <a:ln w="9525">
            <a:noFill/>
            <a:miter lim="800000"/>
            <a:headEnd/>
            <a:tailEnd/>
          </a:ln>
        </p:spPr>
        <p:txBody>
          <a:bodyPr lIns="0" tIns="0" rIns="0" bIns="0" anchor="t" anchorCtr="0">
            <a:spAutoFit/>
          </a:bodyPr>
          <a:lstStyle/>
          <a:p>
            <a:r>
              <a:rPr lang="en-US" sz="1000" dirty="0">
                <a:solidFill>
                  <a:srgbClr val="AFAFAF"/>
                </a:solidFill>
              </a:rPr>
              <a:t>1) STOXX data as of May. 29, 2015. Annualized returns and annualized volatility (standard deviation) figures are used
2) </a:t>
            </a:r>
            <a:r>
              <a:rPr lang="en-US" sz="1000" dirty="0" smtClean="0">
                <a:solidFill>
                  <a:srgbClr val="AFAFAF"/>
                </a:solidFill>
              </a:rPr>
              <a:t>EONIA rate </a:t>
            </a:r>
            <a:r>
              <a:rPr lang="en-US" sz="1000" dirty="0">
                <a:solidFill>
                  <a:srgbClr val="AFAFAF"/>
                </a:solidFill>
              </a:rPr>
              <a:t>used as riskless asset to calculate Sharpe ratio
3) Computed for the period Apr. 30, </a:t>
            </a:r>
            <a:r>
              <a:rPr lang="en-US" sz="1000" dirty="0">
                <a:solidFill>
                  <a:srgbClr val="AFAFAF"/>
                </a:solidFill>
              </a:rPr>
              <a:t>2010 to May. 29, 2015</a:t>
            </a:r>
            <a:endParaRPr lang="en-US" sz="1000" dirty="0">
              <a:solidFill>
                <a:srgbClr val="AFAFAF"/>
              </a:solidFill>
            </a:endParaRPr>
          </a:p>
        </p:txBody>
      </p:sp>
      <p:sp>
        <p:nvSpPr>
          <p:cNvPr id="14" name="Rectangle 6"/>
          <p:cNvSpPr>
            <a:spLocks noChangeArrowheads="1"/>
          </p:cNvSpPr>
          <p:nvPr/>
        </p:nvSpPr>
        <p:spPr bwMode="auto">
          <a:xfrm>
            <a:off x="369717" y="5859007"/>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a:t>STOXX® Europe 600 Optimised Cyclicals 
(EUR Net Return) </a:t>
            </a:r>
          </a:p>
        </p:txBody>
      </p:sp>
      <p:sp>
        <p:nvSpPr>
          <p:cNvPr id="10" name="Rectangle 6"/>
          <p:cNvSpPr>
            <a:spLocks noChangeArrowheads="1"/>
          </p:cNvSpPr>
          <p:nvPr/>
        </p:nvSpPr>
        <p:spPr bwMode="auto">
          <a:xfrm>
            <a:off x="7206113" y="5858432"/>
            <a:ext cx="233850" cy="144463"/>
          </a:xfrm>
          <a:prstGeom prst="rect">
            <a:avLst/>
          </a:prstGeom>
          <a:solidFill>
            <a:srgbClr val="665C8C"/>
          </a:solidFill>
          <a:ln w="9525" algn="ctr">
            <a:noFill/>
            <a:miter lim="800000"/>
            <a:headEnd/>
            <a:tailEnd/>
          </a:ln>
        </p:spPr>
        <p:txBody>
          <a:bodyPr wrap="none" lIns="365760" tIns="0" rIns="0" bIns="0" anchor="ctr"/>
          <a:lstStyle/>
          <a:p>
            <a:r>
              <a:rPr lang="en-US" sz="1000"/>
              <a:t>STOXX® Global 1800 
(EUR Net Return) </a:t>
            </a:r>
          </a:p>
        </p:txBody>
      </p:sp>
      <p:graphicFrame>
        <p:nvGraphicFramePr>
          <p:cNvPr id="12" name="Group 62"/>
          <p:cNvGraphicFramePr>
            <a:graphicFrameLocks noGrp="1"/>
          </p:cNvGraphicFramePr>
          <p:nvPr>
            <p:custDataLst>
              <p:tags r:id="rId1"/>
            </p:custDataLst>
            <p:extLst>
              <p:ext uri="{D42A27DB-BD31-4B8C-83A1-F6EECF244321}">
                <p14:modId xmlns:p14="http://schemas.microsoft.com/office/powerpoint/2010/main" val="348911848"/>
              </p:ext>
            </p:extLst>
          </p:nvPr>
        </p:nvGraphicFramePr>
        <p:xfrm>
          <a:off x="5157312" y="2225823"/>
          <a:ext cx="4370832" cy="3242352"/>
        </p:xfrm>
        <a:graphic>
          <a:graphicData uri="http://schemas.openxmlformats.org/drawingml/2006/table">
            <a:tbl>
              <a:tblPr>
                <a:tableStyleId>{616DA210-FB5B-4158-B5E0-FEB733F419BA}</a:tableStyleId>
              </a:tblPr>
              <a:tblGrid>
                <a:gridCol w="1564143"/>
                <a:gridCol w="935563"/>
                <a:gridCol w="935563"/>
                <a:gridCol w="935563"/>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D80F5F"/>
                          </a:solidFill>
                        </a:rPr>
                        <a:t>STOXX® Europe 600 Optimised Cyclicals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STOXX® Europe 6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665C8C"/>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5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51.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43.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5.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8.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31.1%</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2.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1.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1.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0.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3.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5.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6.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4.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2.2%</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5.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3.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0.7%</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5.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2.1%</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8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1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2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35.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4.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0.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3" name="TextBox 12"/>
          <p:cNvSpPr txBox="1"/>
          <p:nvPr/>
        </p:nvSpPr>
        <p:spPr>
          <a:xfrm>
            <a:off x="1137285" y="1863070"/>
            <a:ext cx="3368040" cy="233910"/>
          </a:xfrm>
          <a:prstGeom prst="rect">
            <a:avLst/>
          </a:prstGeom>
          <a:noFill/>
        </p:spPr>
        <p:txBody>
          <a:bodyPr wrap="square" lIns="0" tIns="0" rIns="0" bIns="0" rtlCol="0">
            <a:spAutoFit/>
          </a:bodyPr>
          <a:lstStyle/>
          <a:p>
            <a:r>
              <a:rPr lang="en-US" sz="1600" b="1">
                <a:solidFill>
                  <a:srgbClr val="FFFFFF"/>
                </a:solidFill>
              </a:rPr>
              <a:t>5y</a:t>
            </a:r>
          </a:p>
        </p:txBody>
      </p:sp>
      <p:graphicFrame>
        <p:nvGraphicFramePr>
          <p:cNvPr id="16" name="Object 9"/>
          <p:cNvGraphicFramePr>
            <a:graphicFrameLocks/>
          </p:cNvGraphicFramePr>
          <p:nvPr>
            <p:extLst>
              <p:ext uri="{D42A27DB-BD31-4B8C-83A1-F6EECF244321}">
                <p14:modId xmlns:p14="http://schemas.microsoft.com/office/powerpoint/2010/main" val="993067404"/>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202919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11" name="Rectangle 2"/>
          <p:cNvSpPr>
            <a:spLocks noChangeArrowheads="1"/>
          </p:cNvSpPr>
          <p:nvPr/>
        </p:nvSpPr>
        <p:spPr bwMode="auto">
          <a:xfrm>
            <a:off x="515401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1"/>
            </p:custDataLst>
            <p:extLst>
              <p:ext uri="{D42A27DB-BD31-4B8C-83A1-F6EECF244321}">
                <p14:modId xmlns:p14="http://schemas.microsoft.com/office/powerpoint/2010/main" val="2806444042"/>
              </p:ext>
            </p:extLst>
          </p:nvPr>
        </p:nvGraphicFramePr>
        <p:xfrm>
          <a:off x="360998" y="2225820"/>
          <a:ext cx="4370832" cy="2664984"/>
        </p:xfrm>
        <a:graphic>
          <a:graphicData uri="http://schemas.openxmlformats.org/drawingml/2006/table">
            <a:tbl>
              <a:tblPr>
                <a:tableStyleId>{616DA210-FB5B-4158-B5E0-FEB733F419BA}</a:tableStyleId>
              </a:tblPr>
              <a:tblGrid>
                <a:gridCol w="1629660"/>
                <a:gridCol w="913724"/>
                <a:gridCol w="913724"/>
                <a:gridCol w="913724"/>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D80F5F"/>
                          </a:solidFill>
                        </a:rPr>
                        <a:t>STOXX® Europe 600 Optimised Cyclicals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STOXX® Europe 6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665C8C"/>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a:r>
                        <a:rPr lang="en-US" sz="1000">
                          <a:solidFill>
                            <a:srgbClr val="000000"/>
                          </a:solidFill>
                        </a:rPr>
                        <a:t>Gross dividend yield</a:t>
                      </a:r>
                      <a:r>
                        <a:rPr lang="en-US" sz="1000" baseline="30000"/>
                        <a:t>2)</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0.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1%</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8.7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9.6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9.23</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4.9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5.8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6.4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4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8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79</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1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0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08</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4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5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5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8" name="Rectangle 6"/>
          <p:cNvSpPr>
            <a:spLocks noChangeArrowheads="1"/>
          </p:cNvSpPr>
          <p:nvPr/>
        </p:nvSpPr>
        <p:spPr bwMode="auto">
          <a:xfrm>
            <a:off x="4264574" y="5859006"/>
            <a:ext cx="233850" cy="144463"/>
          </a:xfrm>
          <a:prstGeom prst="rect">
            <a:avLst/>
          </a:prstGeom>
          <a:solidFill>
            <a:schemeClr val="accent2"/>
          </a:solidFill>
          <a:ln w="9525" algn="ctr">
            <a:noFill/>
            <a:miter lim="800000"/>
            <a:headEnd/>
            <a:tailEnd/>
          </a:ln>
        </p:spPr>
        <p:txBody>
          <a:bodyPr wrap="none" lIns="365760" tIns="0" rIns="0" bIns="0" anchor="ctr"/>
          <a:lstStyle/>
          <a:p>
            <a:r>
              <a:rPr lang="en-US" sz="1000"/>
              <a:t>STOXX® Europe 600 
(EUR Net Return) </a:t>
            </a:r>
          </a:p>
        </p:txBody>
      </p:sp>
      <p:sp>
        <p:nvSpPr>
          <p:cNvPr id="21" name="Rectangle 6"/>
          <p:cNvSpPr>
            <a:spLocks noChangeArrowheads="1"/>
          </p:cNvSpPr>
          <p:nvPr/>
        </p:nvSpPr>
        <p:spPr bwMode="auto">
          <a:xfrm>
            <a:off x="7206113" y="5867957"/>
            <a:ext cx="233850" cy="144463"/>
          </a:xfrm>
          <a:prstGeom prst="rect">
            <a:avLst/>
          </a:prstGeom>
          <a:solidFill>
            <a:srgbClr val="665C8C"/>
          </a:solidFill>
          <a:ln w="9525" algn="ctr">
            <a:noFill/>
            <a:miter lim="800000"/>
            <a:headEnd/>
            <a:tailEnd/>
          </a:ln>
        </p:spPr>
        <p:txBody>
          <a:bodyPr wrap="none" lIns="365760" tIns="0" rIns="0" bIns="0" anchor="ctr"/>
          <a:lstStyle/>
          <a:p>
            <a:r>
              <a:rPr lang="en-US" sz="1000"/>
              <a:t>STOXX® Global 1800 
(EUR Net Return) </a:t>
            </a:r>
          </a:p>
        </p:txBody>
      </p:sp>
      <p:graphicFrame>
        <p:nvGraphicFramePr>
          <p:cNvPr id="12" name="Group 62"/>
          <p:cNvGraphicFramePr>
            <a:graphicFrameLocks noGrp="1"/>
          </p:cNvGraphicFramePr>
          <p:nvPr>
            <p:custDataLst>
              <p:tags r:id="rId2"/>
            </p:custDataLst>
            <p:extLst>
              <p:ext uri="{D42A27DB-BD31-4B8C-83A1-F6EECF244321}">
                <p14:modId xmlns:p14="http://schemas.microsoft.com/office/powerpoint/2010/main" val="916964990"/>
              </p:ext>
            </p:extLst>
          </p:nvPr>
        </p:nvGraphicFramePr>
        <p:xfrm>
          <a:off x="5155597" y="2225820"/>
          <a:ext cx="4367879" cy="1637292"/>
        </p:xfrm>
        <a:graphic>
          <a:graphicData uri="http://schemas.openxmlformats.org/drawingml/2006/table">
            <a:tbl>
              <a:tblPr>
                <a:tableStyleId>{616DA210-FB5B-4158-B5E0-FEB733F419BA}</a:tableStyleId>
              </a:tblPr>
              <a:tblGrid>
                <a:gridCol w="1565878"/>
                <a:gridCol w="932688"/>
                <a:gridCol w="932688"/>
                <a:gridCol w="936625"/>
              </a:tblGrid>
              <a:tr h="45642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D80F5F"/>
                          </a:solidFill>
                        </a:rPr>
                        <a:t>STOXX® Europe 600 Optimised Cyclicals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STOXX® Europe 6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665C8C"/>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31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60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801</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a:r>
                        <a:rPr lang="en-US" sz="1000">
                          <a:solidFill>
                            <a:srgbClr val="000000"/>
                          </a:solidFill>
                        </a:rPr>
                        <a:t>Market cap (wgt. avg.) in EUR b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412385.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8393506.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1743725.4</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5.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9%</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3" name="Group 62"/>
          <p:cNvGraphicFramePr>
            <a:graphicFrameLocks noGrp="1"/>
          </p:cNvGraphicFramePr>
          <p:nvPr>
            <p:custDataLst>
              <p:tags r:id="rId3"/>
            </p:custDataLst>
            <p:extLst>
              <p:ext uri="{D42A27DB-BD31-4B8C-83A1-F6EECF244321}">
                <p14:modId xmlns:p14="http://schemas.microsoft.com/office/powerpoint/2010/main" val="2256889904"/>
              </p:ext>
            </p:extLst>
          </p:nvPr>
        </p:nvGraphicFramePr>
        <p:xfrm>
          <a:off x="5155597" y="4017240"/>
          <a:ext cx="4362135" cy="1477695"/>
        </p:xfrm>
        <a:graphic>
          <a:graphicData uri="http://schemas.openxmlformats.org/drawingml/2006/table">
            <a:tbl>
              <a:tblPr>
                <a:tableStyleId>{616DA210-FB5B-4158-B5E0-FEB733F419BA}</a:tableStyleId>
              </a:tblPr>
              <a:tblGrid>
                <a:gridCol w="2497741"/>
                <a:gridCol w="932688"/>
                <a:gridCol w="931706"/>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vs STOXX® Europe 60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665C8C"/>
                          </a:solidFill>
                        </a:rPr>
                        <a:t>vs 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0.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0.7</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1</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1</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5" name="Text Box 150"/>
          <p:cNvSpPr txBox="1">
            <a:spLocks noChangeArrowheads="1"/>
          </p:cNvSpPr>
          <p:nvPr/>
        </p:nvSpPr>
        <p:spPr bwMode="auto">
          <a:xfrm>
            <a:off x="1656398" y="6334125"/>
            <a:ext cx="7680960" cy="461665"/>
          </a:xfrm>
          <a:prstGeom prst="rect">
            <a:avLst/>
          </a:prstGeom>
          <a:noFill/>
          <a:ln w="9525">
            <a:noFill/>
            <a:miter lim="800000"/>
            <a:headEnd/>
            <a:tailEnd/>
          </a:ln>
        </p:spPr>
        <p:txBody>
          <a:bodyPr lIns="0" tIns="0" rIns="0" bIns="0" anchor="t" anchorCtr="0">
            <a:spAutoFit/>
          </a:bodyPr>
          <a:lstStyle/>
          <a:p>
            <a:r>
              <a:rPr lang="en-US" sz="1000">
                <a:solidFill>
                  <a:srgbClr val="AFAFAF"/>
                </a:solidFill>
              </a:rPr>
              <a:t>1) STOXX data as of May 29, 2015 (2) Gross dividend yield is calculated as Gross return index return minus price index return
3) Including negative values. Trailing period is 12 months
4) Annualized turnover last four quarterly reviews</a:t>
            </a:r>
          </a:p>
        </p:txBody>
      </p:sp>
      <p:sp>
        <p:nvSpPr>
          <p:cNvPr id="17" name="Rectangle 6"/>
          <p:cNvSpPr>
            <a:spLocks noChangeArrowheads="1"/>
          </p:cNvSpPr>
          <p:nvPr/>
        </p:nvSpPr>
        <p:spPr bwMode="auto">
          <a:xfrm>
            <a:off x="369717" y="5859007"/>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a:t>STOXX® Europe 600 Optimised Cyclicals 
(EUR Net Return) </a:t>
            </a:r>
          </a:p>
        </p:txBody>
      </p:sp>
    </p:spTree>
    <p:extLst>
      <p:ext uri="{BB962C8B-B14F-4D97-AF65-F5344CB8AC3E}">
        <p14:creationId xmlns:p14="http://schemas.microsoft.com/office/powerpoint/2010/main" val="23713997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656398" y="6331744"/>
            <a:ext cx="7680960" cy="146194"/>
          </a:xfrm>
          <a:prstGeom prst="rect">
            <a:avLst/>
          </a:prstGeom>
          <a:noFill/>
          <a:ln w="9525">
            <a:noFill/>
            <a:miter lim="800000"/>
            <a:headEnd/>
            <a:tailEnd/>
          </a:ln>
        </p:spPr>
        <p:txBody>
          <a:bodyPr lIns="0" tIns="0" rIns="0" bIns="0" anchor="t" anchorCtr="0">
            <a:spAutoFit/>
          </a:bodyPr>
          <a:lstStyle/>
          <a:p>
            <a:pPr indent="190500">
              <a:buAutoNum type="arabicParenR"/>
            </a:pPr>
            <a:r>
              <a:rPr lang="en-US" sz="1000">
                <a:solidFill>
                  <a:srgbClr val="AFAFAF"/>
                </a:solidFill>
              </a:rPr>
              <a:t>STOXX data as of May. 29, 2015</a:t>
            </a:r>
          </a:p>
        </p:txBody>
      </p:sp>
      <p:sp>
        <p:nvSpPr>
          <p:cNvPr id="10" name="Title 1"/>
          <p:cNvSpPr>
            <a:spLocks noGrp="1"/>
          </p:cNvSpPr>
          <p:nvPr>
            <p:ph type="title"/>
          </p:nvPr>
        </p:nvSpPr>
        <p:spPr/>
        <p:txBody>
          <a:bodyPr/>
          <a:lstStyle/>
          <a:p>
            <a:r>
              <a:rPr lang="en-US" dirty="0"/>
              <a:t>Top 10 </a:t>
            </a:r>
            <a:r>
              <a:rPr lang="en-US" dirty="0" err="1" smtClean="0"/>
              <a:t>supersectors</a:t>
            </a:r>
            <a:r>
              <a:rPr lang="en-US" dirty="0" smtClean="0"/>
              <a:t> </a:t>
            </a:r>
            <a:r>
              <a:rPr lang="en-US" dirty="0"/>
              <a:t>and countries by weight</a:t>
            </a:r>
            <a:endParaRPr lang="en-GB" dirty="0"/>
          </a:p>
        </p:txBody>
      </p:sp>
      <p:sp>
        <p:nvSpPr>
          <p:cNvPr id="11" name="Rectangle 2"/>
          <p:cNvSpPr>
            <a:spLocks noChangeArrowheads="1"/>
          </p:cNvSpPr>
          <p:nvPr/>
        </p:nvSpPr>
        <p:spPr bwMode="auto">
          <a:xfrm>
            <a:off x="365760"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err="1">
                <a:solidFill>
                  <a:srgbClr val="FFFFFF"/>
                </a:solidFill>
              </a:rPr>
              <a:t>Supersector</a:t>
            </a:r>
            <a:r>
              <a:rPr lang="en-US" sz="1600" b="1" dirty="0">
                <a:solidFill>
                  <a:srgbClr val="FFFFFF"/>
                </a:solidFill>
              </a:rPr>
              <a:t>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sp>
        <p:nvSpPr>
          <p:cNvPr id="12" name="Rectangle 2"/>
          <p:cNvSpPr>
            <a:spLocks noChangeArrowheads="1"/>
          </p:cNvSpPr>
          <p:nvPr/>
        </p:nvSpPr>
        <p:spPr bwMode="auto">
          <a:xfrm>
            <a:off x="5152072"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821181686"/>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2771528299"/>
              </p:ext>
            </p:extLst>
          </p:nvPr>
        </p:nvGraphicFramePr>
        <p:xfrm>
          <a:off x="4800600" y="2222778"/>
          <a:ext cx="4891866" cy="3841789"/>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6"/>
          <p:cNvSpPr>
            <a:spLocks noChangeArrowheads="1"/>
          </p:cNvSpPr>
          <p:nvPr/>
        </p:nvSpPr>
        <p:spPr bwMode="auto">
          <a:xfrm>
            <a:off x="3570117" y="5857758"/>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a:t>STOXX® Europe 600 Optimised Cyclicals 
(EUR Net Return) </a:t>
            </a:r>
          </a:p>
        </p:txBody>
      </p:sp>
    </p:spTree>
    <p:extLst>
      <p:ext uri="{BB962C8B-B14F-4D97-AF65-F5344CB8AC3E}">
        <p14:creationId xmlns:p14="http://schemas.microsoft.com/office/powerpoint/2010/main" val="264520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sp>
        <p:nvSpPr>
          <p:cNvPr id="9" name="Text Box 150"/>
          <p:cNvSpPr txBox="1">
            <a:spLocks noChangeArrowheads="1"/>
          </p:cNvSpPr>
          <p:nvPr/>
        </p:nvSpPr>
        <p:spPr bwMode="auto">
          <a:xfrm>
            <a:off x="1656397" y="6331744"/>
            <a:ext cx="7589520" cy="365760"/>
          </a:xfrm>
          <a:prstGeom prst="rect">
            <a:avLst/>
          </a:prstGeom>
          <a:noFill/>
          <a:ln w="9525">
            <a:noFill/>
            <a:miter lim="800000"/>
            <a:headEnd/>
            <a:tailEnd/>
          </a:ln>
        </p:spPr>
        <p:txBody>
          <a:bodyPr lIns="0" tIns="0" rIns="0" bIns="0" anchor="t" anchorCtr="0">
            <a:noAutofit/>
          </a:bodyPr>
          <a:lstStyle/>
          <a:p>
            <a:pPr indent="190500">
              <a:buAutoNum type="arabicParenR"/>
            </a:pPr>
            <a:r>
              <a:rPr lang="en-US" sz="1000">
                <a:solidFill>
                  <a:srgbClr val="AFAFAF"/>
                </a:solidFill>
              </a:rPr>
              <a:t>STOXX data as of May. 29, 2015</a:t>
            </a:r>
          </a:p>
        </p:txBody>
      </p:sp>
      <p:graphicFrame>
        <p:nvGraphicFramePr>
          <p:cNvPr id="5" name="Group 62"/>
          <p:cNvGraphicFramePr>
            <a:graphicFrameLocks noGrp="1" noChangeAspect="1"/>
          </p:cNvGraphicFramePr>
          <p:nvPr>
            <p:custDataLst>
              <p:tags r:id="rId1"/>
            </p:custDataLst>
            <p:extLst>
              <p:ext uri="{D42A27DB-BD31-4B8C-83A1-F6EECF244321}">
                <p14:modId xmlns:p14="http://schemas.microsoft.com/office/powerpoint/2010/main" val="4293822748"/>
              </p:ext>
            </p:extLst>
          </p:nvPr>
        </p:nvGraphicFramePr>
        <p:xfrm>
          <a:off x="354134" y="1835356"/>
          <a:ext cx="9371491" cy="3996311"/>
        </p:xfrm>
        <a:graphic>
          <a:graphicData uri="http://schemas.openxmlformats.org/drawingml/2006/table">
            <a:tbl>
              <a:tblPr>
                <a:tableStyleId>{616DA210-FB5B-4158-B5E0-FEB733F419BA}</a:tableStyleId>
              </a:tblPr>
              <a:tblGrid>
                <a:gridCol w="2560516"/>
                <a:gridCol w="2438400"/>
                <a:gridCol w="1295400"/>
                <a:gridCol w="1781175"/>
                <a:gridCol w="1296000"/>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err="1" smtClean="0">
                          <a:ln>
                            <a:noFill/>
                          </a:ln>
                          <a:solidFill>
                            <a:schemeClr val="bg1"/>
                          </a:solidFill>
                          <a:effectLst/>
                          <a:latin typeface="Arial" panose="020B0604020202020204" pitchFamily="34" charset="0"/>
                          <a:ea typeface="+mn-ea"/>
                          <a:cs typeface="Arial" panose="020B0604020202020204" pitchFamily="34" charset="0"/>
                        </a:rPr>
                        <a:t>Supersector</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1">
                          <a:solidFill>
                            <a:srgbClr val="FFFFFF"/>
                          </a:solidFill>
                        </a:rPr>
                        <a:t>Market cap EUR bn</a:t>
                      </a: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 %</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270" indent="635"/>
                      <a:r>
                        <a:rPr lang="en-US" sz="1200">
                          <a:solidFill>
                            <a:srgbClr val="000000"/>
                          </a:solidFill>
                        </a:rPr>
                        <a:t>BCO SANTANDER</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Bank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25.20</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2.67</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270" indent="635"/>
                      <a:r>
                        <a:rPr lang="en-US" sz="1200">
                          <a:solidFill>
                            <a:srgbClr val="000000"/>
                          </a:solidFill>
                        </a:rPr>
                        <a:t>BAYER</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Chemical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D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17.00</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2.50</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270" indent="635"/>
                      <a:r>
                        <a:rPr lang="en-US" sz="1200">
                          <a:solidFill>
                            <a:srgbClr val="000000"/>
                          </a:solidFill>
                        </a:rPr>
                        <a:t>HSBC</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Bank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41.50</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2.27</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BASF</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Chemical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D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14.00</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2.27</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SIEMENS</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dustrial Goods &amp; Servic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D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7.80</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2.21</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UBS GROUP</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Bank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CH</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10.04</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2.00</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ALLIANZ</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sur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D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11.52</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91</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SAP</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Technolog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D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5.21</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88</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BNP PARIBAS</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Bank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FR</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10.30</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80</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ING GRP</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Bank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NL</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solidFill>
                            <a:srgbClr val="000000"/>
                          </a:solidFill>
                        </a:rPr>
                        <a:t>4.67</a:t>
                      </a:r>
                      <a:endParaRPr lang="en-US" sz="1200" dirty="0">
                        <a:solidFill>
                          <a:srgbClr val="000000"/>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69</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3289052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59703DC1-F193-4513-97E8-423924443519}"/>
</file>

<file path=customXml/itemProps2.xml><?xml version="1.0" encoding="utf-8"?>
<ds:datastoreItem xmlns:ds="http://schemas.openxmlformats.org/officeDocument/2006/customXml" ds:itemID="{2D5E939E-817C-4348-9DC0-130A3A225574}"/>
</file>

<file path=customXml/itemProps3.xml><?xml version="1.0" encoding="utf-8"?>
<ds:datastoreItem xmlns:ds="http://schemas.openxmlformats.org/officeDocument/2006/customXml" ds:itemID="{832C4C30-84A1-4CF9-B1A8-2312A83E0E97}"/>
</file>

<file path=docProps/app.xml><?xml version="1.0" encoding="utf-8"?>
<Properties xmlns="http://schemas.openxmlformats.org/officeDocument/2006/extended-properties" xmlns:vt="http://schemas.openxmlformats.org/officeDocument/2006/docPropsVTypes">
  <Template>STOXXPresentations2.0</Template>
  <TotalTime>0</TotalTime>
  <Words>974</Words>
  <Application>Microsoft Office PowerPoint</Application>
  <PresentationFormat>A4 Paper (210x297 mm)</PresentationFormat>
  <Paragraphs>242</Paragraphs>
  <Slides>10</Slides>
  <Notes>4</Notes>
  <HiddenSlides>0</HiddenSlides>
  <MMClips>0</MMClips>
  <ScaleCrop>false</ScaleCrop>
  <HeadingPairs>
    <vt:vector size="4" baseType="variant">
      <vt:variant>
        <vt:lpstr>Theme</vt:lpstr>
      </vt:variant>
      <vt:variant>
        <vt:i4>3</vt:i4>
      </vt:variant>
      <vt:variant>
        <vt:lpstr>Slide Titles</vt:lpstr>
      </vt:variant>
      <vt:variant>
        <vt:i4>10</vt:i4>
      </vt:variant>
    </vt:vector>
  </HeadingPairs>
  <TitlesOfParts>
    <vt:vector size="13" baseType="lpstr">
      <vt:lpstr>STOXXEmbeddedTheme</vt:lpstr>
      <vt:lpstr>Template STOXX Presentations 2.0.</vt:lpstr>
      <vt:lpstr>STOXX_ESG_ProductSlides</vt:lpstr>
      <vt:lpstr>STOXX®  XXX INDEX (ALL CAPS) </vt:lpstr>
      <vt:lpstr>Agenda</vt:lpstr>
      <vt:lpstr>Investment case</vt:lpstr>
      <vt:lpstr>Methodology</vt:lpstr>
      <vt:lpstr>Risk and return overview</vt:lpstr>
      <vt:lpstr>Index fundamental characteristics and key figures</vt:lpstr>
      <vt:lpstr>Top 10 supersectors and countries by weight</vt:lpstr>
      <vt:lpstr>Top 10 components by weight</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84</cp:revision>
  <dcterms:created xsi:type="dcterms:W3CDTF">2014-05-26T13:36:56Z</dcterms:created>
  <dcterms:modified xsi:type="dcterms:W3CDTF">2015-06-24T12:3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